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7" r:id="rId2"/>
    <p:sldMasterId id="2147483682" r:id="rId3"/>
    <p:sldMasterId id="2147483694" r:id="rId4"/>
  </p:sldMasterIdLst>
  <p:notesMasterIdLst>
    <p:notesMasterId r:id="rId18"/>
  </p:notesMasterIdLst>
  <p:sldIdLst>
    <p:sldId id="838840763" r:id="rId5"/>
    <p:sldId id="2134806473" r:id="rId6"/>
    <p:sldId id="2134806479" r:id="rId7"/>
    <p:sldId id="2134806103" r:id="rId8"/>
    <p:sldId id="2134806095" r:id="rId9"/>
    <p:sldId id="3078" r:id="rId10"/>
    <p:sldId id="2134806101" r:id="rId11"/>
    <p:sldId id="2134806100" r:id="rId12"/>
    <p:sldId id="2134806480" r:id="rId13"/>
    <p:sldId id="4646" r:id="rId14"/>
    <p:sldId id="5105" r:id="rId15"/>
    <p:sldId id="838840769" r:id="rId16"/>
    <p:sldId id="2134806105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D611E3-65A7-40BE-BF20-D5523FC53B5E}" v="33" dt="2023-03-28T16:10:43.24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>
        <p:scale>
          <a:sx n="55" d="100"/>
          <a:sy n="55" d="100"/>
        </p:scale>
        <p:origin x="1096" y="2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openxmlformats.org/officeDocument/2006/relationships/customXml" Target="../customXml/item2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Relationship Id="rId27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onstans, Joseph (VACO)" userId="90aafe61-5857-41d9-9d56-a03f27a6d727" providerId="ADAL" clId="{75D611E3-65A7-40BE-BF20-D5523FC53B5E}"/>
    <pc:docChg chg="undo custSel addSld delSld modSld sldOrd">
      <pc:chgData name="Constans, Joseph (VACO)" userId="90aafe61-5857-41d9-9d56-a03f27a6d727" providerId="ADAL" clId="{75D611E3-65A7-40BE-BF20-D5523FC53B5E}" dt="2023-03-28T16:10:43.235" v="1482" actId="20578"/>
      <pc:docMkLst>
        <pc:docMk/>
      </pc:docMkLst>
      <pc:sldChg chg="addSp delSp modSp mod">
        <pc:chgData name="Constans, Joseph (VACO)" userId="90aafe61-5857-41d9-9d56-a03f27a6d727" providerId="ADAL" clId="{75D611E3-65A7-40BE-BF20-D5523FC53B5E}" dt="2023-03-27T22:48:56.785" v="440" actId="1076"/>
        <pc:sldMkLst>
          <pc:docMk/>
          <pc:sldMk cId="1218423228" sldId="3078"/>
        </pc:sldMkLst>
        <pc:spChg chg="add mod">
          <ac:chgData name="Constans, Joseph (VACO)" userId="90aafe61-5857-41d9-9d56-a03f27a6d727" providerId="ADAL" clId="{75D611E3-65A7-40BE-BF20-D5523FC53B5E}" dt="2023-03-27T22:48:56.785" v="440" actId="1076"/>
          <ac:spMkLst>
            <pc:docMk/>
            <pc:sldMk cId="1218423228" sldId="3078"/>
            <ac:spMk id="2" creationId="{AE7967F1-3B7D-D771-0A5B-635F94198555}"/>
          </ac:spMkLst>
        </pc:spChg>
        <pc:spChg chg="del mod">
          <ac:chgData name="Constans, Joseph (VACO)" userId="90aafe61-5857-41d9-9d56-a03f27a6d727" providerId="ADAL" clId="{75D611E3-65A7-40BE-BF20-D5523FC53B5E}" dt="2023-03-27T22:48:49.111" v="438" actId="478"/>
          <ac:spMkLst>
            <pc:docMk/>
            <pc:sldMk cId="1218423228" sldId="3078"/>
            <ac:spMk id="7" creationId="{94ADCF5C-42D2-4AF7-95ED-8ACE2E9B64E5}"/>
          </ac:spMkLst>
        </pc:spChg>
      </pc:sldChg>
      <pc:sldChg chg="addSp modSp add del mod">
        <pc:chgData name="Constans, Joseph (VACO)" userId="90aafe61-5857-41d9-9d56-a03f27a6d727" providerId="ADAL" clId="{75D611E3-65A7-40BE-BF20-D5523FC53B5E}" dt="2023-03-28T01:05:20.173" v="615" actId="255"/>
        <pc:sldMkLst>
          <pc:docMk/>
          <pc:sldMk cId="151934803" sldId="4646"/>
        </pc:sldMkLst>
        <pc:spChg chg="mod">
          <ac:chgData name="Constans, Joseph (VACO)" userId="90aafe61-5857-41d9-9d56-a03f27a6d727" providerId="ADAL" clId="{75D611E3-65A7-40BE-BF20-D5523FC53B5E}" dt="2023-03-28T01:04:06.652" v="610"/>
          <ac:spMkLst>
            <pc:docMk/>
            <pc:sldMk cId="151934803" sldId="4646"/>
            <ac:spMk id="2" creationId="{AF4AAEFE-2B89-4657-A326-EA6E896E493A}"/>
          </ac:spMkLst>
        </pc:spChg>
        <pc:spChg chg="mod">
          <ac:chgData name="Constans, Joseph (VACO)" userId="90aafe61-5857-41d9-9d56-a03f27a6d727" providerId="ADAL" clId="{75D611E3-65A7-40BE-BF20-D5523FC53B5E}" dt="2023-03-28T01:04:06.652" v="610"/>
          <ac:spMkLst>
            <pc:docMk/>
            <pc:sldMk cId="151934803" sldId="4646"/>
            <ac:spMk id="3" creationId="{E3AA7FA3-996E-42EA-BCCD-5370D2F548ED}"/>
          </ac:spMkLst>
        </pc:spChg>
        <pc:spChg chg="add mod">
          <ac:chgData name="Constans, Joseph (VACO)" userId="90aafe61-5857-41d9-9d56-a03f27a6d727" providerId="ADAL" clId="{75D611E3-65A7-40BE-BF20-D5523FC53B5E}" dt="2023-03-28T01:05:20.173" v="615" actId="255"/>
          <ac:spMkLst>
            <pc:docMk/>
            <pc:sldMk cId="151934803" sldId="4646"/>
            <ac:spMk id="5" creationId="{05B88070-1F63-FD9F-CB0A-48F619ADABAD}"/>
          </ac:spMkLst>
        </pc:spChg>
      </pc:sldChg>
      <pc:sldChg chg="addSp modSp add del mod">
        <pc:chgData name="Constans, Joseph (VACO)" userId="90aafe61-5857-41d9-9d56-a03f27a6d727" providerId="ADAL" clId="{75D611E3-65A7-40BE-BF20-D5523FC53B5E}" dt="2023-03-28T01:12:34.536" v="729"/>
        <pc:sldMkLst>
          <pc:docMk/>
          <pc:sldMk cId="1792782201" sldId="5105"/>
        </pc:sldMkLst>
        <pc:spChg chg="mod">
          <ac:chgData name="Constans, Joseph (VACO)" userId="90aafe61-5857-41d9-9d56-a03f27a6d727" providerId="ADAL" clId="{75D611E3-65A7-40BE-BF20-D5523FC53B5E}" dt="2023-03-28T01:00:48.166" v="600" actId="27636"/>
          <ac:spMkLst>
            <pc:docMk/>
            <pc:sldMk cId="1792782201" sldId="5105"/>
            <ac:spMk id="2" creationId="{1F4B7279-955C-4BC3-9DC3-2E474D9E3356}"/>
          </ac:spMkLst>
        </pc:spChg>
        <pc:spChg chg="add mod">
          <ac:chgData name="Constans, Joseph (VACO)" userId="90aafe61-5857-41d9-9d56-a03f27a6d727" providerId="ADAL" clId="{75D611E3-65A7-40BE-BF20-D5523FC53B5E}" dt="2023-03-28T01:12:34.536" v="729"/>
          <ac:spMkLst>
            <pc:docMk/>
            <pc:sldMk cId="1792782201" sldId="5105"/>
            <ac:spMk id="5" creationId="{A184DB45-ACE2-ADFA-8707-CE8590188863}"/>
          </ac:spMkLst>
        </pc:spChg>
      </pc:sldChg>
      <pc:sldChg chg="modSp mod">
        <pc:chgData name="Constans, Joseph (VACO)" userId="90aafe61-5857-41d9-9d56-a03f27a6d727" providerId="ADAL" clId="{75D611E3-65A7-40BE-BF20-D5523FC53B5E}" dt="2023-03-28T01:35:33.944" v="1477" actId="20577"/>
        <pc:sldMkLst>
          <pc:docMk/>
          <pc:sldMk cId="1561972886" sldId="838840763"/>
        </pc:sldMkLst>
        <pc:spChg chg="mod">
          <ac:chgData name="Constans, Joseph (VACO)" userId="90aafe61-5857-41d9-9d56-a03f27a6d727" providerId="ADAL" clId="{75D611E3-65A7-40BE-BF20-D5523FC53B5E}" dt="2023-03-28T01:35:33.944" v="1477" actId="20577"/>
          <ac:spMkLst>
            <pc:docMk/>
            <pc:sldMk cId="1561972886" sldId="838840763"/>
            <ac:spMk id="2" creationId="{EB869755-DFA6-450B-B1D4-BD0B5F9593C8}"/>
          </ac:spMkLst>
        </pc:spChg>
        <pc:spChg chg="mod">
          <ac:chgData name="Constans, Joseph (VACO)" userId="90aafe61-5857-41d9-9d56-a03f27a6d727" providerId="ADAL" clId="{75D611E3-65A7-40BE-BF20-D5523FC53B5E}" dt="2023-03-27T22:09:09.193" v="15" actId="20577"/>
          <ac:spMkLst>
            <pc:docMk/>
            <pc:sldMk cId="1561972886" sldId="838840763"/>
            <ac:spMk id="3" creationId="{B924423C-65F1-43A1-ACFC-874D9409D6CA}"/>
          </ac:spMkLst>
        </pc:spChg>
      </pc:sldChg>
      <pc:sldChg chg="delSp modSp add mod">
        <pc:chgData name="Constans, Joseph (VACO)" userId="90aafe61-5857-41d9-9d56-a03f27a6d727" providerId="ADAL" clId="{75D611E3-65A7-40BE-BF20-D5523FC53B5E}" dt="2023-03-28T01:10:49.935" v="697" actId="20577"/>
        <pc:sldMkLst>
          <pc:docMk/>
          <pc:sldMk cId="866635415" sldId="838840769"/>
        </pc:sldMkLst>
        <pc:spChg chg="mod">
          <ac:chgData name="Constans, Joseph (VACO)" userId="90aafe61-5857-41d9-9d56-a03f27a6d727" providerId="ADAL" clId="{75D611E3-65A7-40BE-BF20-D5523FC53B5E}" dt="2023-03-28T01:10:49.935" v="697" actId="20577"/>
          <ac:spMkLst>
            <pc:docMk/>
            <pc:sldMk cId="866635415" sldId="838840769"/>
            <ac:spMk id="7" creationId="{41652511-9CCB-4115-B17F-BA7EB52ED216}"/>
          </ac:spMkLst>
        </pc:spChg>
        <pc:picChg chg="del">
          <ac:chgData name="Constans, Joseph (VACO)" userId="90aafe61-5857-41d9-9d56-a03f27a6d727" providerId="ADAL" clId="{75D611E3-65A7-40BE-BF20-D5523FC53B5E}" dt="2023-03-28T01:08:37.296" v="618" actId="478"/>
          <ac:picMkLst>
            <pc:docMk/>
            <pc:sldMk cId="866635415" sldId="838840769"/>
            <ac:picMk id="8" creationId="{A1901061-F190-44B0-A7B1-54CA664E82D1}"/>
          </ac:picMkLst>
        </pc:picChg>
      </pc:sldChg>
      <pc:sldChg chg="del">
        <pc:chgData name="Constans, Joseph (VACO)" userId="90aafe61-5857-41d9-9d56-a03f27a6d727" providerId="ADAL" clId="{75D611E3-65A7-40BE-BF20-D5523FC53B5E}" dt="2023-03-27T22:47:36.405" v="422" actId="47"/>
        <pc:sldMkLst>
          <pc:docMk/>
          <pc:sldMk cId="3033756092" sldId="2134806094"/>
        </pc:sldMkLst>
      </pc:sldChg>
      <pc:sldChg chg="addSp delSp modSp mod ord">
        <pc:chgData name="Constans, Joseph (VACO)" userId="90aafe61-5857-41d9-9d56-a03f27a6d727" providerId="ADAL" clId="{75D611E3-65A7-40BE-BF20-D5523FC53B5E}" dt="2023-03-28T00:37:23.534" v="457" actId="478"/>
        <pc:sldMkLst>
          <pc:docMk/>
          <pc:sldMk cId="487014293" sldId="2134806095"/>
        </pc:sldMkLst>
        <pc:spChg chg="mod">
          <ac:chgData name="Constans, Joseph (VACO)" userId="90aafe61-5857-41d9-9d56-a03f27a6d727" providerId="ADAL" clId="{75D611E3-65A7-40BE-BF20-D5523FC53B5E}" dt="2023-03-27T22:42:16.512" v="421" actId="20577"/>
          <ac:spMkLst>
            <pc:docMk/>
            <pc:sldMk cId="487014293" sldId="2134806095"/>
            <ac:spMk id="2" creationId="{665121F6-2624-433C-93C5-524C9F09EF73}"/>
          </ac:spMkLst>
        </pc:spChg>
        <pc:spChg chg="add mod">
          <ac:chgData name="Constans, Joseph (VACO)" userId="90aafe61-5857-41d9-9d56-a03f27a6d727" providerId="ADAL" clId="{75D611E3-65A7-40BE-BF20-D5523FC53B5E}" dt="2023-03-28T00:37:23.534" v="457" actId="478"/>
          <ac:spMkLst>
            <pc:docMk/>
            <pc:sldMk cId="487014293" sldId="2134806095"/>
            <ac:spMk id="5" creationId="{7EC50749-00BA-BC7B-FA4A-101DF4683F8B}"/>
          </ac:spMkLst>
        </pc:spChg>
        <pc:spChg chg="del">
          <ac:chgData name="Constans, Joseph (VACO)" userId="90aafe61-5857-41d9-9d56-a03f27a6d727" providerId="ADAL" clId="{75D611E3-65A7-40BE-BF20-D5523FC53B5E}" dt="2023-03-28T00:37:23.534" v="457" actId="478"/>
          <ac:spMkLst>
            <pc:docMk/>
            <pc:sldMk cId="487014293" sldId="2134806095"/>
            <ac:spMk id="14" creationId="{FE7FBC8F-9640-4ECB-995A-AFF252143789}"/>
          </ac:spMkLst>
        </pc:spChg>
      </pc:sldChg>
      <pc:sldChg chg="del">
        <pc:chgData name="Constans, Joseph (VACO)" userId="90aafe61-5857-41d9-9d56-a03f27a6d727" providerId="ADAL" clId="{75D611E3-65A7-40BE-BF20-D5523FC53B5E}" dt="2023-03-27T22:47:44.407" v="423" actId="47"/>
        <pc:sldMkLst>
          <pc:docMk/>
          <pc:sldMk cId="3255272209" sldId="2134806098"/>
        </pc:sldMkLst>
      </pc:sldChg>
      <pc:sldChg chg="del">
        <pc:chgData name="Constans, Joseph (VACO)" userId="90aafe61-5857-41d9-9d56-a03f27a6d727" providerId="ADAL" clId="{75D611E3-65A7-40BE-BF20-D5523FC53B5E}" dt="2023-03-27T22:49:31.622" v="444" actId="47"/>
        <pc:sldMkLst>
          <pc:docMk/>
          <pc:sldMk cId="3224169985" sldId="2134806099"/>
        </pc:sldMkLst>
      </pc:sldChg>
      <pc:sldChg chg="addSp delSp modSp mod">
        <pc:chgData name="Constans, Joseph (VACO)" userId="90aafe61-5857-41d9-9d56-a03f27a6d727" providerId="ADAL" clId="{75D611E3-65A7-40BE-BF20-D5523FC53B5E}" dt="2023-03-27T22:49:17.311" v="443" actId="1076"/>
        <pc:sldMkLst>
          <pc:docMk/>
          <pc:sldMk cId="3823584908" sldId="2134806100"/>
        </pc:sldMkLst>
        <pc:spChg chg="add mod">
          <ac:chgData name="Constans, Joseph (VACO)" userId="90aafe61-5857-41d9-9d56-a03f27a6d727" providerId="ADAL" clId="{75D611E3-65A7-40BE-BF20-D5523FC53B5E}" dt="2023-03-27T22:49:17.311" v="443" actId="1076"/>
          <ac:spMkLst>
            <pc:docMk/>
            <pc:sldMk cId="3823584908" sldId="2134806100"/>
            <ac:spMk id="2" creationId="{5B32B40C-6B38-5152-D0FD-8D6A58DD1763}"/>
          </ac:spMkLst>
        </pc:spChg>
        <pc:spChg chg="del">
          <ac:chgData name="Constans, Joseph (VACO)" userId="90aafe61-5857-41d9-9d56-a03f27a6d727" providerId="ADAL" clId="{75D611E3-65A7-40BE-BF20-D5523FC53B5E}" dt="2023-03-27T22:49:10.412" v="441" actId="478"/>
          <ac:spMkLst>
            <pc:docMk/>
            <pc:sldMk cId="3823584908" sldId="2134806100"/>
            <ac:spMk id="7" creationId="{94ADCF5C-42D2-4AF7-95ED-8ACE2E9B64E5}"/>
          </ac:spMkLst>
        </pc:spChg>
      </pc:sldChg>
      <pc:sldChg chg="addSp delSp modSp mod ord">
        <pc:chgData name="Constans, Joseph (VACO)" userId="90aafe61-5857-41d9-9d56-a03f27a6d727" providerId="ADAL" clId="{75D611E3-65A7-40BE-BF20-D5523FC53B5E}" dt="2023-03-28T00:40:21.789" v="592"/>
        <pc:sldMkLst>
          <pc:docMk/>
          <pc:sldMk cId="455602790" sldId="2134806101"/>
        </pc:sldMkLst>
        <pc:spChg chg="add mod">
          <ac:chgData name="Constans, Joseph (VACO)" userId="90aafe61-5857-41d9-9d56-a03f27a6d727" providerId="ADAL" clId="{75D611E3-65A7-40BE-BF20-D5523FC53B5E}" dt="2023-03-28T00:40:21.789" v="592"/>
          <ac:spMkLst>
            <pc:docMk/>
            <pc:sldMk cId="455602790" sldId="2134806101"/>
            <ac:spMk id="3" creationId="{1DF76343-257D-05BF-17C9-5FF1D271BE75}"/>
          </ac:spMkLst>
        </pc:spChg>
        <pc:spChg chg="del">
          <ac:chgData name="Constans, Joseph (VACO)" userId="90aafe61-5857-41d9-9d56-a03f27a6d727" providerId="ADAL" clId="{75D611E3-65A7-40BE-BF20-D5523FC53B5E}" dt="2023-03-28T00:39:55.362" v="589" actId="478"/>
          <ac:spMkLst>
            <pc:docMk/>
            <pc:sldMk cId="455602790" sldId="2134806101"/>
            <ac:spMk id="7" creationId="{94ADCF5C-42D2-4AF7-95ED-8ACE2E9B64E5}"/>
          </ac:spMkLst>
        </pc:spChg>
        <pc:picChg chg="mod">
          <ac:chgData name="Constans, Joseph (VACO)" userId="90aafe61-5857-41d9-9d56-a03f27a6d727" providerId="ADAL" clId="{75D611E3-65A7-40BE-BF20-D5523FC53B5E}" dt="2023-03-28T00:36:47.399" v="455" actId="1036"/>
          <ac:picMkLst>
            <pc:docMk/>
            <pc:sldMk cId="455602790" sldId="2134806101"/>
            <ac:picMk id="2" creationId="{9C850E0B-F68F-4E11-96CC-DCF1832B871B}"/>
          </ac:picMkLst>
        </pc:picChg>
        <pc:picChg chg="mod">
          <ac:chgData name="Constans, Joseph (VACO)" userId="90aafe61-5857-41d9-9d56-a03f27a6d727" providerId="ADAL" clId="{75D611E3-65A7-40BE-BF20-D5523FC53B5E}" dt="2023-03-28T00:37:03.624" v="456" actId="1076"/>
          <ac:picMkLst>
            <pc:docMk/>
            <pc:sldMk cId="455602790" sldId="2134806101"/>
            <ac:picMk id="5" creationId="{C3CA1846-ACA6-49B0-9FF2-CBACB49EC33C}"/>
          </ac:picMkLst>
        </pc:picChg>
      </pc:sldChg>
      <pc:sldChg chg="addSp delSp modSp del mod">
        <pc:chgData name="Constans, Joseph (VACO)" userId="90aafe61-5857-41d9-9d56-a03f27a6d727" providerId="ADAL" clId="{75D611E3-65A7-40BE-BF20-D5523FC53B5E}" dt="2023-03-28T01:05:29.270" v="616" actId="47"/>
        <pc:sldMkLst>
          <pc:docMk/>
          <pc:sldMk cId="3089885518" sldId="2134806102"/>
        </pc:sldMkLst>
        <pc:spChg chg="add mod">
          <ac:chgData name="Constans, Joseph (VACO)" userId="90aafe61-5857-41d9-9d56-a03f27a6d727" providerId="ADAL" clId="{75D611E3-65A7-40BE-BF20-D5523FC53B5E}" dt="2023-03-28T01:00:26.140" v="596" actId="478"/>
          <ac:spMkLst>
            <pc:docMk/>
            <pc:sldMk cId="3089885518" sldId="2134806102"/>
            <ac:spMk id="5" creationId="{7B36CBF8-2DBA-C56F-A758-989FBD07D48A}"/>
          </ac:spMkLst>
        </pc:spChg>
        <pc:spChg chg="del mod">
          <ac:chgData name="Constans, Joseph (VACO)" userId="90aafe61-5857-41d9-9d56-a03f27a6d727" providerId="ADAL" clId="{75D611E3-65A7-40BE-BF20-D5523FC53B5E}" dt="2023-03-28T01:00:22.878" v="595" actId="478"/>
          <ac:spMkLst>
            <pc:docMk/>
            <pc:sldMk cId="3089885518" sldId="2134806102"/>
            <ac:spMk id="11" creationId="{5014D6C9-3E04-4722-A763-48DFF7C3B072}"/>
          </ac:spMkLst>
        </pc:spChg>
        <pc:spChg chg="del">
          <ac:chgData name="Constans, Joseph (VACO)" userId="90aafe61-5857-41d9-9d56-a03f27a6d727" providerId="ADAL" clId="{75D611E3-65A7-40BE-BF20-D5523FC53B5E}" dt="2023-03-28T01:00:26.140" v="596" actId="478"/>
          <ac:spMkLst>
            <pc:docMk/>
            <pc:sldMk cId="3089885518" sldId="2134806102"/>
            <ac:spMk id="12" creationId="{89425F96-22CE-4175-A7F2-1073A05CE73F}"/>
          </ac:spMkLst>
        </pc:spChg>
      </pc:sldChg>
      <pc:sldChg chg="delSp modSp mod ord">
        <pc:chgData name="Constans, Joseph (VACO)" userId="90aafe61-5857-41d9-9d56-a03f27a6d727" providerId="ADAL" clId="{75D611E3-65A7-40BE-BF20-D5523FC53B5E}" dt="2023-03-27T22:39:30.209" v="362"/>
        <pc:sldMkLst>
          <pc:docMk/>
          <pc:sldMk cId="1841556261" sldId="2134806103"/>
        </pc:sldMkLst>
        <pc:spChg chg="mod">
          <ac:chgData name="Constans, Joseph (VACO)" userId="90aafe61-5857-41d9-9d56-a03f27a6d727" providerId="ADAL" clId="{75D611E3-65A7-40BE-BF20-D5523FC53B5E}" dt="2023-03-27T22:14:42.874" v="172" actId="1076"/>
          <ac:spMkLst>
            <pc:docMk/>
            <pc:sldMk cId="1841556261" sldId="2134806103"/>
            <ac:spMk id="7" creationId="{94ADCF5C-42D2-4AF7-95ED-8ACE2E9B64E5}"/>
          </ac:spMkLst>
        </pc:spChg>
        <pc:spChg chg="del mod">
          <ac:chgData name="Constans, Joseph (VACO)" userId="90aafe61-5857-41d9-9d56-a03f27a6d727" providerId="ADAL" clId="{75D611E3-65A7-40BE-BF20-D5523FC53B5E}" dt="2023-03-27T22:14:30.385" v="168" actId="478"/>
          <ac:spMkLst>
            <pc:docMk/>
            <pc:sldMk cId="1841556261" sldId="2134806103"/>
            <ac:spMk id="11" creationId="{5014D6C9-3E04-4722-A763-48DFF7C3B072}"/>
          </ac:spMkLst>
        </pc:spChg>
        <pc:spChg chg="mod">
          <ac:chgData name="Constans, Joseph (VACO)" userId="90aafe61-5857-41d9-9d56-a03f27a6d727" providerId="ADAL" clId="{75D611E3-65A7-40BE-BF20-D5523FC53B5E}" dt="2023-03-27T22:17:17.310" v="248" actId="20577"/>
          <ac:spMkLst>
            <pc:docMk/>
            <pc:sldMk cId="1841556261" sldId="2134806103"/>
            <ac:spMk id="12" creationId="{89425F96-22CE-4175-A7F2-1073A05CE73F}"/>
          </ac:spMkLst>
        </pc:spChg>
        <pc:spChg chg="mod">
          <ac:chgData name="Constans, Joseph (VACO)" userId="90aafe61-5857-41d9-9d56-a03f27a6d727" providerId="ADAL" clId="{75D611E3-65A7-40BE-BF20-D5523FC53B5E}" dt="2023-03-27T22:21:48.439" v="355" actId="20577"/>
          <ac:spMkLst>
            <pc:docMk/>
            <pc:sldMk cId="1841556261" sldId="2134806103"/>
            <ac:spMk id="16" creationId="{1ECFFF5E-DAAB-40B7-93EA-575062B51A12}"/>
          </ac:spMkLst>
        </pc:spChg>
      </pc:sldChg>
      <pc:sldChg chg="del">
        <pc:chgData name="Constans, Joseph (VACO)" userId="90aafe61-5857-41d9-9d56-a03f27a6d727" providerId="ADAL" clId="{75D611E3-65A7-40BE-BF20-D5523FC53B5E}" dt="2023-03-28T01:11:09.408" v="698" actId="47"/>
        <pc:sldMkLst>
          <pc:docMk/>
          <pc:sldMk cId="3969777579" sldId="2134806104"/>
        </pc:sldMkLst>
      </pc:sldChg>
      <pc:sldChg chg="addSp delSp modSp mod modClrScheme delDesignElem chgLayout">
        <pc:chgData name="Constans, Joseph (VACO)" userId="90aafe61-5857-41d9-9d56-a03f27a6d727" providerId="ADAL" clId="{75D611E3-65A7-40BE-BF20-D5523FC53B5E}" dt="2023-03-28T16:10:43.235" v="1482" actId="20578"/>
        <pc:sldMkLst>
          <pc:docMk/>
          <pc:sldMk cId="420191705" sldId="2134806105"/>
        </pc:sldMkLst>
        <pc:spChg chg="add mod ord">
          <ac:chgData name="Constans, Joseph (VACO)" userId="90aafe61-5857-41d9-9d56-a03f27a6d727" providerId="ADAL" clId="{75D611E3-65A7-40BE-BF20-D5523FC53B5E}" dt="2023-03-28T01:22:41.462" v="749" actId="700"/>
          <ac:spMkLst>
            <pc:docMk/>
            <pc:sldMk cId="420191705" sldId="2134806105"/>
            <ac:spMk id="2" creationId="{60500C75-5534-8C43-71A4-EDF9BFD21197}"/>
          </ac:spMkLst>
        </pc:spChg>
        <pc:spChg chg="add del mod">
          <ac:chgData name="Constans, Joseph (VACO)" userId="90aafe61-5857-41d9-9d56-a03f27a6d727" providerId="ADAL" clId="{75D611E3-65A7-40BE-BF20-D5523FC53B5E}" dt="2023-03-28T01:21:57.289" v="745" actId="478"/>
          <ac:spMkLst>
            <pc:docMk/>
            <pc:sldMk cId="420191705" sldId="2134806105"/>
            <ac:spMk id="3" creationId="{BAA65F47-9189-6D8A-AB20-C5EB1AFD2EB0}"/>
          </ac:spMkLst>
        </pc:spChg>
        <pc:spChg chg="mod ord">
          <ac:chgData name="Constans, Joseph (VACO)" userId="90aafe61-5857-41d9-9d56-a03f27a6d727" providerId="ADAL" clId="{75D611E3-65A7-40BE-BF20-D5523FC53B5E}" dt="2023-03-28T01:22:41.462" v="749" actId="700"/>
          <ac:spMkLst>
            <pc:docMk/>
            <pc:sldMk cId="420191705" sldId="2134806105"/>
            <ac:spMk id="4" creationId="{20BCB512-3D1F-4FF9-99DB-16D23FCFDECB}"/>
          </ac:spMkLst>
        </pc:spChg>
        <pc:spChg chg="add del mod ord">
          <ac:chgData name="Constans, Joseph (VACO)" userId="90aafe61-5857-41d9-9d56-a03f27a6d727" providerId="ADAL" clId="{75D611E3-65A7-40BE-BF20-D5523FC53B5E}" dt="2023-03-28T01:22:16.384" v="747" actId="700"/>
          <ac:spMkLst>
            <pc:docMk/>
            <pc:sldMk cId="420191705" sldId="2134806105"/>
            <ac:spMk id="5" creationId="{F0358F4E-3707-627B-A35D-5863218CDCBA}"/>
          </ac:spMkLst>
        </pc:spChg>
        <pc:spChg chg="add del mod ord">
          <ac:chgData name="Constans, Joseph (VACO)" userId="90aafe61-5857-41d9-9d56-a03f27a6d727" providerId="ADAL" clId="{75D611E3-65A7-40BE-BF20-D5523FC53B5E}" dt="2023-03-28T01:22:16.384" v="747" actId="700"/>
          <ac:spMkLst>
            <pc:docMk/>
            <pc:sldMk cId="420191705" sldId="2134806105"/>
            <ac:spMk id="6" creationId="{33EC640F-B304-A818-6CF1-43360E66D934}"/>
          </ac:spMkLst>
        </pc:spChg>
        <pc:spChg chg="del mod">
          <ac:chgData name="Constans, Joseph (VACO)" userId="90aafe61-5857-41d9-9d56-a03f27a6d727" providerId="ADAL" clId="{75D611E3-65A7-40BE-BF20-D5523FC53B5E}" dt="2023-03-28T01:12:54.120" v="731" actId="478"/>
          <ac:spMkLst>
            <pc:docMk/>
            <pc:sldMk cId="420191705" sldId="2134806105"/>
            <ac:spMk id="7" creationId="{94ADCF5C-42D2-4AF7-95ED-8ACE2E9B64E5}"/>
          </ac:spMkLst>
        </pc:spChg>
        <pc:spChg chg="add mod">
          <ac:chgData name="Constans, Joseph (VACO)" userId="90aafe61-5857-41d9-9d56-a03f27a6d727" providerId="ADAL" clId="{75D611E3-65A7-40BE-BF20-D5523FC53B5E}" dt="2023-03-28T01:23:30.932" v="785" actId="122"/>
          <ac:spMkLst>
            <pc:docMk/>
            <pc:sldMk cId="420191705" sldId="2134806105"/>
            <ac:spMk id="9" creationId="{FCF9405E-E4DD-452B-64AD-9328E1B1470F}"/>
          </ac:spMkLst>
        </pc:spChg>
        <pc:spChg chg="add mod">
          <ac:chgData name="Constans, Joseph (VACO)" userId="90aafe61-5857-41d9-9d56-a03f27a6d727" providerId="ADAL" clId="{75D611E3-65A7-40BE-BF20-D5523FC53B5E}" dt="2023-03-28T16:10:43.235" v="1482" actId="20578"/>
          <ac:spMkLst>
            <pc:docMk/>
            <pc:sldMk cId="420191705" sldId="2134806105"/>
            <ac:spMk id="10" creationId="{DAD9D92F-39AD-CF69-7800-9EA1A5B1B3EC}"/>
          </ac:spMkLst>
        </pc:spChg>
        <pc:spChg chg="del">
          <ac:chgData name="Constans, Joseph (VACO)" userId="90aafe61-5857-41d9-9d56-a03f27a6d727" providerId="ADAL" clId="{75D611E3-65A7-40BE-BF20-D5523FC53B5E}" dt="2023-03-28T01:13:10.848" v="737" actId="478"/>
          <ac:spMkLst>
            <pc:docMk/>
            <pc:sldMk cId="420191705" sldId="2134806105"/>
            <ac:spMk id="11" creationId="{5014D6C9-3E04-4722-A763-48DFF7C3B072}"/>
          </ac:spMkLst>
        </pc:spChg>
        <pc:spChg chg="add del">
          <ac:chgData name="Constans, Joseph (VACO)" userId="90aafe61-5857-41d9-9d56-a03f27a6d727" providerId="ADAL" clId="{75D611E3-65A7-40BE-BF20-D5523FC53B5E}" dt="2023-03-28T01:22:41.462" v="749" actId="700"/>
          <ac:spMkLst>
            <pc:docMk/>
            <pc:sldMk cId="420191705" sldId="2134806105"/>
            <ac:spMk id="13" creationId="{A8384FB5-9ADC-4DDC-881B-597D56F5B15D}"/>
          </ac:spMkLst>
        </pc:spChg>
        <pc:spChg chg="add del">
          <ac:chgData name="Constans, Joseph (VACO)" userId="90aafe61-5857-41d9-9d56-a03f27a6d727" providerId="ADAL" clId="{75D611E3-65A7-40BE-BF20-D5523FC53B5E}" dt="2023-03-28T01:22:41.462" v="749" actId="700"/>
          <ac:spMkLst>
            <pc:docMk/>
            <pc:sldMk cId="420191705" sldId="2134806105"/>
            <ac:spMk id="15" creationId="{91E5A9A7-95C6-4F4F-B00E-C82E07FE62EF}"/>
          </ac:spMkLst>
        </pc:spChg>
        <pc:spChg chg="add del">
          <ac:chgData name="Constans, Joseph (VACO)" userId="90aafe61-5857-41d9-9d56-a03f27a6d727" providerId="ADAL" clId="{75D611E3-65A7-40BE-BF20-D5523FC53B5E}" dt="2023-03-28T01:22:41.462" v="749" actId="700"/>
          <ac:spMkLst>
            <pc:docMk/>
            <pc:sldMk cId="420191705" sldId="2134806105"/>
            <ac:spMk id="17" creationId="{D07DD2DE-F619-49DD-B5E7-03A290FF4ED1}"/>
          </ac:spMkLst>
        </pc:spChg>
        <pc:spChg chg="del mod">
          <ac:chgData name="Constans, Joseph (VACO)" userId="90aafe61-5857-41d9-9d56-a03f27a6d727" providerId="ADAL" clId="{75D611E3-65A7-40BE-BF20-D5523FC53B5E}" dt="2023-03-28T01:13:06.193" v="736" actId="478"/>
          <ac:spMkLst>
            <pc:docMk/>
            <pc:sldMk cId="420191705" sldId="2134806105"/>
            <ac:spMk id="18" creationId="{BA9E9B4A-DD75-4067-86DF-3B949EF35FF6}"/>
          </ac:spMkLst>
        </pc:spChg>
        <pc:spChg chg="add del">
          <ac:chgData name="Constans, Joseph (VACO)" userId="90aafe61-5857-41d9-9d56-a03f27a6d727" providerId="ADAL" clId="{75D611E3-65A7-40BE-BF20-D5523FC53B5E}" dt="2023-03-28T01:22:41.462" v="749" actId="700"/>
          <ac:spMkLst>
            <pc:docMk/>
            <pc:sldMk cId="420191705" sldId="2134806105"/>
            <ac:spMk id="19" creationId="{85149191-5F60-4A28-AAFF-039F96B0F3EC}"/>
          </ac:spMkLst>
        </pc:spChg>
        <pc:spChg chg="del">
          <ac:chgData name="Constans, Joseph (VACO)" userId="90aafe61-5857-41d9-9d56-a03f27a6d727" providerId="ADAL" clId="{75D611E3-65A7-40BE-BF20-D5523FC53B5E}" dt="2023-03-28T01:13:02.777" v="734" actId="478"/>
          <ac:spMkLst>
            <pc:docMk/>
            <pc:sldMk cId="420191705" sldId="2134806105"/>
            <ac:spMk id="20" creationId="{3673E672-2D73-48BB-8175-ACF7F110377E}"/>
          </ac:spMkLst>
        </pc:spChg>
        <pc:spChg chg="add del">
          <ac:chgData name="Constans, Joseph (VACO)" userId="90aafe61-5857-41d9-9d56-a03f27a6d727" providerId="ADAL" clId="{75D611E3-65A7-40BE-BF20-D5523FC53B5E}" dt="2023-03-28T01:22:41.462" v="749" actId="700"/>
          <ac:spMkLst>
            <pc:docMk/>
            <pc:sldMk cId="420191705" sldId="2134806105"/>
            <ac:spMk id="21" creationId="{F8260ED5-17F7-4158-B241-D51DD4CF1B7E}"/>
          </ac:spMkLst>
        </pc:spChg>
        <pc:spChg chg="del">
          <ac:chgData name="Constans, Joseph (VACO)" userId="90aafe61-5857-41d9-9d56-a03f27a6d727" providerId="ADAL" clId="{75D611E3-65A7-40BE-BF20-D5523FC53B5E}" dt="2023-03-28T01:13:28.203" v="741" actId="478"/>
          <ac:spMkLst>
            <pc:docMk/>
            <pc:sldMk cId="420191705" sldId="2134806105"/>
            <ac:spMk id="24" creationId="{99E442FA-F8F4-4758-AE39-482915833B6E}"/>
          </ac:spMkLst>
        </pc:spChg>
        <pc:spChg chg="del">
          <ac:chgData name="Constans, Joseph (VACO)" userId="90aafe61-5857-41d9-9d56-a03f27a6d727" providerId="ADAL" clId="{75D611E3-65A7-40BE-BF20-D5523FC53B5E}" dt="2023-03-28T01:13:20.117" v="740" actId="478"/>
          <ac:spMkLst>
            <pc:docMk/>
            <pc:sldMk cId="420191705" sldId="2134806105"/>
            <ac:spMk id="25" creationId="{E478E66D-639F-45D5-92F7-1D421DDA8125}"/>
          </ac:spMkLst>
        </pc:spChg>
        <pc:cxnChg chg="del">
          <ac:chgData name="Constans, Joseph (VACO)" userId="90aafe61-5857-41d9-9d56-a03f27a6d727" providerId="ADAL" clId="{75D611E3-65A7-40BE-BF20-D5523FC53B5E}" dt="2023-03-28T01:13:13.207" v="738" actId="478"/>
          <ac:cxnSpMkLst>
            <pc:docMk/>
            <pc:sldMk cId="420191705" sldId="2134806105"/>
            <ac:cxnSpMk id="8" creationId="{FAC3EC00-B2F9-434F-B79C-E2FC5095189A}"/>
          </ac:cxnSpMkLst>
        </pc:cxnChg>
        <pc:cxnChg chg="del">
          <ac:chgData name="Constans, Joseph (VACO)" userId="90aafe61-5857-41d9-9d56-a03f27a6d727" providerId="ADAL" clId="{75D611E3-65A7-40BE-BF20-D5523FC53B5E}" dt="2023-03-28T01:13:15.725" v="739" actId="478"/>
          <ac:cxnSpMkLst>
            <pc:docMk/>
            <pc:sldMk cId="420191705" sldId="2134806105"/>
            <ac:cxnSpMk id="22" creationId="{7E9FCEE5-2549-4FCC-8B52-156404FBFD80}"/>
          </ac:cxnSpMkLst>
        </pc:cxnChg>
      </pc:sldChg>
      <pc:sldChg chg="del">
        <pc:chgData name="Constans, Joseph (VACO)" userId="90aafe61-5857-41d9-9d56-a03f27a6d727" providerId="ADAL" clId="{75D611E3-65A7-40BE-BF20-D5523FC53B5E}" dt="2023-03-28T01:11:09.408" v="698" actId="47"/>
        <pc:sldMkLst>
          <pc:docMk/>
          <pc:sldMk cId="2802225166" sldId="2134806106"/>
        </pc:sldMkLst>
      </pc:sldChg>
      <pc:sldChg chg="del">
        <pc:chgData name="Constans, Joseph (VACO)" userId="90aafe61-5857-41d9-9d56-a03f27a6d727" providerId="ADAL" clId="{75D611E3-65A7-40BE-BF20-D5523FC53B5E}" dt="2023-03-28T01:11:09.408" v="698" actId="47"/>
        <pc:sldMkLst>
          <pc:docMk/>
          <pc:sldMk cId="4086786940" sldId="2134806107"/>
        </pc:sldMkLst>
      </pc:sldChg>
      <pc:sldChg chg="del">
        <pc:chgData name="Constans, Joseph (VACO)" userId="90aafe61-5857-41d9-9d56-a03f27a6d727" providerId="ADAL" clId="{75D611E3-65A7-40BE-BF20-D5523FC53B5E}" dt="2023-03-28T01:11:09.408" v="698" actId="47"/>
        <pc:sldMkLst>
          <pc:docMk/>
          <pc:sldMk cId="3110127533" sldId="2134806108"/>
        </pc:sldMkLst>
      </pc:sldChg>
      <pc:sldChg chg="modSp add mod">
        <pc:chgData name="Constans, Joseph (VACO)" userId="90aafe61-5857-41d9-9d56-a03f27a6d727" providerId="ADAL" clId="{75D611E3-65A7-40BE-BF20-D5523FC53B5E}" dt="2023-03-27T22:37:42.968" v="358" actId="1076"/>
        <pc:sldMkLst>
          <pc:docMk/>
          <pc:sldMk cId="1919876218" sldId="2134806473"/>
        </pc:sldMkLst>
        <pc:spChg chg="mod">
          <ac:chgData name="Constans, Joseph (VACO)" userId="90aafe61-5857-41d9-9d56-a03f27a6d727" providerId="ADAL" clId="{75D611E3-65A7-40BE-BF20-D5523FC53B5E}" dt="2023-03-27T22:37:42.968" v="358" actId="1076"/>
          <ac:spMkLst>
            <pc:docMk/>
            <pc:sldMk cId="1919876218" sldId="2134806473"/>
            <ac:spMk id="2" creationId="{0DF64D2C-3D4E-810D-6630-05FF0B2E4BC0}"/>
          </ac:spMkLst>
        </pc:spChg>
      </pc:sldChg>
      <pc:sldChg chg="modSp add mod">
        <pc:chgData name="Constans, Joseph (VACO)" userId="90aafe61-5857-41d9-9d56-a03f27a6d727" providerId="ADAL" clId="{75D611E3-65A7-40BE-BF20-D5523FC53B5E}" dt="2023-03-27T22:39:11.820" v="360" actId="1076"/>
        <pc:sldMkLst>
          <pc:docMk/>
          <pc:sldMk cId="1089329335" sldId="2134806479"/>
        </pc:sldMkLst>
        <pc:spChg chg="mod">
          <ac:chgData name="Constans, Joseph (VACO)" userId="90aafe61-5857-41d9-9d56-a03f27a6d727" providerId="ADAL" clId="{75D611E3-65A7-40BE-BF20-D5523FC53B5E}" dt="2023-03-27T22:39:11.820" v="360" actId="1076"/>
          <ac:spMkLst>
            <pc:docMk/>
            <pc:sldMk cId="1089329335" sldId="2134806479"/>
            <ac:spMk id="2" creationId="{B88B14ED-6A7B-3D7E-8819-FCA6C8415EA9}"/>
          </ac:spMkLst>
        </pc:spChg>
      </pc:sldChg>
      <pc:sldChg chg="delSp modSp add mod">
        <pc:chgData name="Constans, Joseph (VACO)" userId="90aafe61-5857-41d9-9d56-a03f27a6d727" providerId="ADAL" clId="{75D611E3-65A7-40BE-BF20-D5523FC53B5E}" dt="2023-03-28T01:11:40.193" v="728" actId="20577"/>
        <pc:sldMkLst>
          <pc:docMk/>
          <pc:sldMk cId="335311436" sldId="2134806480"/>
        </pc:sldMkLst>
        <pc:spChg chg="mod">
          <ac:chgData name="Constans, Joseph (VACO)" userId="90aafe61-5857-41d9-9d56-a03f27a6d727" providerId="ADAL" clId="{75D611E3-65A7-40BE-BF20-D5523FC53B5E}" dt="2023-03-28T01:11:40.193" v="728" actId="20577"/>
          <ac:spMkLst>
            <pc:docMk/>
            <pc:sldMk cId="335311436" sldId="2134806480"/>
            <ac:spMk id="2" creationId="{665121F6-2624-433C-93C5-524C9F09EF73}"/>
          </ac:spMkLst>
        </pc:spChg>
        <pc:spChg chg="del mod">
          <ac:chgData name="Constans, Joseph (VACO)" userId="90aafe61-5857-41d9-9d56-a03f27a6d727" providerId="ADAL" clId="{75D611E3-65A7-40BE-BF20-D5523FC53B5E}" dt="2023-03-28T00:38:22.258" v="463" actId="478"/>
          <ac:spMkLst>
            <pc:docMk/>
            <pc:sldMk cId="335311436" sldId="2134806480"/>
            <ac:spMk id="5" creationId="{7EC50749-00BA-BC7B-FA4A-101DF4683F8B}"/>
          </ac:spMkLst>
        </pc:spChg>
      </pc:sldChg>
      <pc:sldChg chg="addSp delSp add del setBg delDesignElem">
        <pc:chgData name="Constans, Joseph (VACO)" userId="90aafe61-5857-41d9-9d56-a03f27a6d727" providerId="ADAL" clId="{75D611E3-65A7-40BE-BF20-D5523FC53B5E}" dt="2023-03-28T00:37:58.982" v="460"/>
        <pc:sldMkLst>
          <pc:docMk/>
          <pc:sldMk cId="3933417699" sldId="2134806480"/>
        </pc:sldMkLst>
        <pc:spChg chg="add del">
          <ac:chgData name="Constans, Joseph (VACO)" userId="90aafe61-5857-41d9-9d56-a03f27a6d727" providerId="ADAL" clId="{75D611E3-65A7-40BE-BF20-D5523FC53B5E}" dt="2023-03-28T00:37:58.982" v="460"/>
          <ac:spMkLst>
            <pc:docMk/>
            <pc:sldMk cId="3933417699" sldId="2134806480"/>
            <ac:spMk id="45" creationId="{76EFD3D9-44F0-4267-BCC1-1613E79D8274}"/>
          </ac:spMkLst>
        </pc:spChg>
        <pc:spChg chg="add del">
          <ac:chgData name="Constans, Joseph (VACO)" userId="90aafe61-5857-41d9-9d56-a03f27a6d727" providerId="ADAL" clId="{75D611E3-65A7-40BE-BF20-D5523FC53B5E}" dt="2023-03-28T00:37:58.982" v="460"/>
          <ac:spMkLst>
            <pc:docMk/>
            <pc:sldMk cId="3933417699" sldId="2134806480"/>
            <ac:spMk id="47" creationId="{A779A851-95D6-41AF-937A-B0E4B7F6FA8D}"/>
          </ac:spMkLst>
        </pc:spChg>
        <pc:spChg chg="add del">
          <ac:chgData name="Constans, Joseph (VACO)" userId="90aafe61-5857-41d9-9d56-a03f27a6d727" providerId="ADAL" clId="{75D611E3-65A7-40BE-BF20-D5523FC53B5E}" dt="2023-03-28T00:37:58.982" v="460"/>
          <ac:spMkLst>
            <pc:docMk/>
            <pc:sldMk cId="3933417699" sldId="2134806480"/>
            <ac:spMk id="49" creationId="{953FB2E7-B6CB-429C-81EB-D9516D6D5C8D}"/>
          </ac:spMkLst>
        </pc:spChg>
        <pc:spChg chg="add del">
          <ac:chgData name="Constans, Joseph (VACO)" userId="90aafe61-5857-41d9-9d56-a03f27a6d727" providerId="ADAL" clId="{75D611E3-65A7-40BE-BF20-D5523FC53B5E}" dt="2023-03-28T00:37:58.982" v="460"/>
          <ac:spMkLst>
            <pc:docMk/>
            <pc:sldMk cId="3933417699" sldId="2134806480"/>
            <ac:spMk id="51" creationId="{2EC40DB1-B719-4A13-9A4D-0966B4B27866}"/>
          </ac:spMkLst>
        </pc:spChg>
        <pc:spChg chg="add del">
          <ac:chgData name="Constans, Joseph (VACO)" userId="90aafe61-5857-41d9-9d56-a03f27a6d727" providerId="ADAL" clId="{75D611E3-65A7-40BE-BF20-D5523FC53B5E}" dt="2023-03-28T00:37:58.982" v="460"/>
          <ac:spMkLst>
            <pc:docMk/>
            <pc:sldMk cId="3933417699" sldId="2134806480"/>
            <ac:spMk id="53" creationId="{82211336-CFF3-412D-868A-6679C1004C45}"/>
          </ac:spMkLst>
        </pc:spChg>
      </pc:sldChg>
      <pc:sldChg chg="add del">
        <pc:chgData name="Constans, Joseph (VACO)" userId="90aafe61-5857-41d9-9d56-a03f27a6d727" providerId="ADAL" clId="{75D611E3-65A7-40BE-BF20-D5523FC53B5E}" dt="2023-03-28T00:40:09.515" v="591"/>
        <pc:sldMkLst>
          <pc:docMk/>
          <pc:sldMk cId="1859333446" sldId="2134806481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743123064906221"/>
          <c:y val="8.5095442218764861E-2"/>
          <c:w val="0.89458016207905489"/>
          <c:h val="0.749756442577948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unding amou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8</c:f>
              <c:strCache>
                <c:ptCount val="7"/>
                <c:pt idx="0">
                  <c:v>FY16</c:v>
                </c:pt>
                <c:pt idx="1">
                  <c:v>FY17</c:v>
                </c:pt>
                <c:pt idx="2">
                  <c:v>FY18</c:v>
                </c:pt>
                <c:pt idx="3">
                  <c:v>FY19</c:v>
                </c:pt>
                <c:pt idx="4">
                  <c:v>FY20</c:v>
                </c:pt>
                <c:pt idx="5">
                  <c:v>FY21</c:v>
                </c:pt>
                <c:pt idx="6">
                  <c:v>FY22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2500765</c:v>
                </c:pt>
                <c:pt idx="1">
                  <c:v>11385034</c:v>
                </c:pt>
                <c:pt idx="2">
                  <c:v>11562999</c:v>
                </c:pt>
                <c:pt idx="3">
                  <c:v>12890675</c:v>
                </c:pt>
                <c:pt idx="4">
                  <c:v>13611987</c:v>
                </c:pt>
                <c:pt idx="5">
                  <c:v>14803511</c:v>
                </c:pt>
                <c:pt idx="6">
                  <c:v>18698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14-4732-82E8-337AD4C41B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390590776"/>
        <c:axId val="390588480"/>
      </c:barChart>
      <c:catAx>
        <c:axId val="390590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0588480"/>
        <c:crossesAt val="0"/>
        <c:auto val="1"/>
        <c:lblAlgn val="ctr"/>
        <c:lblOffset val="100"/>
        <c:noMultiLvlLbl val="0"/>
      </c:catAx>
      <c:valAx>
        <c:axId val="3905884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0590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907</cdr:x>
      <cdr:y>0.3062</cdr:y>
    </cdr:from>
    <cdr:to>
      <cdr:x>0.23752</cdr:x>
      <cdr:y>0.3795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6350F553-4989-44AA-B664-406B4ED1A265}"/>
            </a:ext>
          </a:extLst>
        </cdr:cNvPr>
        <cdr:cNvSpPr txBox="1"/>
      </cdr:nvSpPr>
      <cdr:spPr>
        <a:xfrm xmlns:a="http://schemas.openxmlformats.org/drawingml/2006/main">
          <a:off x="1199197" y="1541631"/>
          <a:ext cx="1007635" cy="3693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400" dirty="0"/>
            <a:t>20 </a:t>
          </a:r>
        </a:p>
      </cdr:txBody>
    </cdr:sp>
  </cdr:relSizeAnchor>
  <cdr:relSizeAnchor xmlns:cdr="http://schemas.openxmlformats.org/drawingml/2006/chartDrawing">
    <cdr:from>
      <cdr:x>0.45136</cdr:x>
      <cdr:y>0.46187</cdr:y>
    </cdr:from>
    <cdr:to>
      <cdr:x>0.52262</cdr:x>
      <cdr:y>0.47095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2C467737-4FC6-4A00-A482-B86C3EB58CB6}"/>
            </a:ext>
          </a:extLst>
        </cdr:cNvPr>
        <cdr:cNvSpPr txBox="1"/>
      </cdr:nvSpPr>
      <cdr:spPr>
        <a:xfrm xmlns:a="http://schemas.openxmlformats.org/drawingml/2006/main">
          <a:off x="4193628" y="2325414"/>
          <a:ext cx="662151" cy="4571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52529</cdr:x>
      <cdr:y>0.28111</cdr:y>
    </cdr:from>
    <cdr:to>
      <cdr:x>0.58794</cdr:x>
      <cdr:y>0.3435</cdr:y>
    </cdr:to>
    <cdr:sp macro="" textlink="">
      <cdr:nvSpPr>
        <cdr:cNvPr id="5" name="TextBox 4">
          <a:extLst xmlns:a="http://schemas.openxmlformats.org/drawingml/2006/main">
            <a:ext uri="{FF2B5EF4-FFF2-40B4-BE49-F238E27FC236}">
              <a16:creationId xmlns:a16="http://schemas.microsoft.com/office/drawing/2014/main" id="{70E164A0-F13F-491A-BE8B-89F2A491FE40}"/>
            </a:ext>
          </a:extLst>
        </cdr:cNvPr>
        <cdr:cNvSpPr txBox="1"/>
      </cdr:nvSpPr>
      <cdr:spPr>
        <a:xfrm xmlns:a="http://schemas.openxmlformats.org/drawingml/2006/main">
          <a:off x="3795595" y="1665179"/>
          <a:ext cx="452688" cy="36959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400" dirty="0"/>
            <a:t>46</a:t>
          </a:r>
          <a:r>
            <a:rPr lang="en-US" dirty="0"/>
            <a:t> </a:t>
          </a:r>
          <a:endParaRPr lang="en-US" sz="1100" dirty="0"/>
        </a:p>
      </cdr:txBody>
    </cdr:sp>
  </cdr:relSizeAnchor>
  <cdr:relSizeAnchor xmlns:cdr="http://schemas.openxmlformats.org/drawingml/2006/chartDrawing">
    <cdr:from>
      <cdr:x>0.65925</cdr:x>
      <cdr:y>0.60737</cdr:y>
    </cdr:from>
    <cdr:to>
      <cdr:x>0.75766</cdr:x>
      <cdr:y>0.78899</cdr:y>
    </cdr:to>
    <cdr:sp macro="" textlink="">
      <cdr:nvSpPr>
        <cdr:cNvPr id="6" name="TextBox 5">
          <a:extLst xmlns:a="http://schemas.openxmlformats.org/drawingml/2006/main">
            <a:ext uri="{FF2B5EF4-FFF2-40B4-BE49-F238E27FC236}">
              <a16:creationId xmlns:a16="http://schemas.microsoft.com/office/drawing/2014/main" id="{3ABBC200-33AB-4666-A620-2229506A9F68}"/>
            </a:ext>
          </a:extLst>
        </cdr:cNvPr>
        <cdr:cNvSpPr txBox="1"/>
      </cdr:nvSpPr>
      <cdr:spPr>
        <a:xfrm xmlns:a="http://schemas.openxmlformats.org/drawingml/2006/main">
          <a:off x="6125157" y="3057958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26668</cdr:x>
      <cdr:y>0.345</cdr:y>
    </cdr:from>
    <cdr:to>
      <cdr:x>0.32804</cdr:x>
      <cdr:y>0.38826</cdr:y>
    </cdr:to>
    <cdr:sp macro="" textlink="">
      <cdr:nvSpPr>
        <cdr:cNvPr id="8" name="TextBox 7">
          <a:extLst xmlns:a="http://schemas.openxmlformats.org/drawingml/2006/main">
            <a:ext uri="{FF2B5EF4-FFF2-40B4-BE49-F238E27FC236}">
              <a16:creationId xmlns:a16="http://schemas.microsoft.com/office/drawing/2014/main" id="{3CA832C6-682A-4B98-B0D5-663694D7EE70}"/>
            </a:ext>
          </a:extLst>
        </cdr:cNvPr>
        <cdr:cNvSpPr txBox="1"/>
      </cdr:nvSpPr>
      <cdr:spPr>
        <a:xfrm xmlns:a="http://schemas.openxmlformats.org/drawingml/2006/main">
          <a:off x="1926927" y="2043636"/>
          <a:ext cx="443394" cy="2562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400" dirty="0"/>
            <a:t>27</a:t>
          </a:r>
        </a:p>
      </cdr:txBody>
    </cdr:sp>
  </cdr:relSizeAnchor>
  <cdr:relSizeAnchor xmlns:cdr="http://schemas.openxmlformats.org/drawingml/2006/chartDrawing">
    <cdr:from>
      <cdr:x>0.65399</cdr:x>
      <cdr:y>0.25386</cdr:y>
    </cdr:from>
    <cdr:to>
      <cdr:x>0.70632</cdr:x>
      <cdr:y>0.30787</cdr:y>
    </cdr:to>
    <cdr:sp macro="" textlink="">
      <cdr:nvSpPr>
        <cdr:cNvPr id="9" name="TextBox 8">
          <a:extLst xmlns:a="http://schemas.openxmlformats.org/drawingml/2006/main">
            <a:ext uri="{FF2B5EF4-FFF2-40B4-BE49-F238E27FC236}">
              <a16:creationId xmlns:a16="http://schemas.microsoft.com/office/drawing/2014/main" id="{CEEB5A01-10A8-4F2B-80CC-EA02C95483B0}"/>
            </a:ext>
          </a:extLst>
        </cdr:cNvPr>
        <cdr:cNvSpPr txBox="1"/>
      </cdr:nvSpPr>
      <cdr:spPr>
        <a:xfrm xmlns:a="http://schemas.openxmlformats.org/drawingml/2006/main">
          <a:off x="4725537" y="1503759"/>
          <a:ext cx="378151" cy="31994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400" dirty="0"/>
            <a:t>62</a:t>
          </a:r>
        </a:p>
      </cdr:txBody>
    </cdr:sp>
  </cdr:relSizeAnchor>
  <cdr:relSizeAnchor xmlns:cdr="http://schemas.openxmlformats.org/drawingml/2006/chartDrawing">
    <cdr:from>
      <cdr:x>0.40532</cdr:x>
      <cdr:y>0.33078</cdr:y>
    </cdr:from>
    <cdr:to>
      <cdr:x>0.4664</cdr:x>
      <cdr:y>0.40414</cdr:y>
    </cdr:to>
    <cdr:sp macro="" textlink="">
      <cdr:nvSpPr>
        <cdr:cNvPr id="10" name="TextBox 9">
          <a:extLst xmlns:a="http://schemas.openxmlformats.org/drawingml/2006/main">
            <a:ext uri="{FF2B5EF4-FFF2-40B4-BE49-F238E27FC236}">
              <a16:creationId xmlns:a16="http://schemas.microsoft.com/office/drawing/2014/main" id="{0A8DDB8D-F8C2-41CC-8EED-5EBE671763CF}"/>
            </a:ext>
          </a:extLst>
        </cdr:cNvPr>
        <cdr:cNvSpPr txBox="1"/>
      </cdr:nvSpPr>
      <cdr:spPr>
        <a:xfrm xmlns:a="http://schemas.openxmlformats.org/drawingml/2006/main">
          <a:off x="2928753" y="1959402"/>
          <a:ext cx="441349" cy="43455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400" dirty="0"/>
            <a:t>32</a:t>
          </a:r>
        </a:p>
      </cdr:txBody>
    </cdr:sp>
  </cdr:relSizeAnchor>
  <cdr:relSizeAnchor xmlns:cdr="http://schemas.openxmlformats.org/drawingml/2006/chartDrawing">
    <cdr:from>
      <cdr:x>0.77753</cdr:x>
      <cdr:y>0.21222</cdr:y>
    </cdr:from>
    <cdr:to>
      <cdr:x>0.83559</cdr:x>
      <cdr:y>0.25642</cdr:y>
    </cdr:to>
    <cdr:sp macro="" textlink="">
      <cdr:nvSpPr>
        <cdr:cNvPr id="11" name="TextBox 10">
          <a:extLst xmlns:a="http://schemas.openxmlformats.org/drawingml/2006/main">
            <a:ext uri="{FF2B5EF4-FFF2-40B4-BE49-F238E27FC236}">
              <a16:creationId xmlns:a16="http://schemas.microsoft.com/office/drawing/2014/main" id="{4F2DADC6-01EF-4DF3-9237-68D61A03B87E}"/>
            </a:ext>
          </a:extLst>
        </cdr:cNvPr>
        <cdr:cNvSpPr txBox="1"/>
      </cdr:nvSpPr>
      <cdr:spPr>
        <a:xfrm xmlns:a="http://schemas.openxmlformats.org/drawingml/2006/main">
          <a:off x="5618263" y="1257103"/>
          <a:ext cx="419490" cy="26180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400" dirty="0"/>
            <a:t>83</a:t>
          </a:r>
        </a:p>
      </cdr:txBody>
    </cdr:sp>
  </cdr:relSizeAnchor>
  <cdr:relSizeAnchor xmlns:cdr="http://schemas.openxmlformats.org/drawingml/2006/chartDrawing">
    <cdr:from>
      <cdr:x>0.9081</cdr:x>
      <cdr:y>0.07974</cdr:y>
    </cdr:from>
    <cdr:to>
      <cdr:x>0.96847</cdr:x>
      <cdr:y>0.13401</cdr:y>
    </cdr:to>
    <cdr:sp macro="" textlink="">
      <cdr:nvSpPr>
        <cdr:cNvPr id="12" name="TextBox 11">
          <a:extLst xmlns:a="http://schemas.openxmlformats.org/drawingml/2006/main">
            <a:ext uri="{FF2B5EF4-FFF2-40B4-BE49-F238E27FC236}">
              <a16:creationId xmlns:a16="http://schemas.microsoft.com/office/drawing/2014/main" id="{1F91AC57-E5C6-4D98-BDE8-6ADB2C9EDF44}"/>
            </a:ext>
          </a:extLst>
        </cdr:cNvPr>
        <cdr:cNvSpPr txBox="1"/>
      </cdr:nvSpPr>
      <cdr:spPr>
        <a:xfrm xmlns:a="http://schemas.openxmlformats.org/drawingml/2006/main">
          <a:off x="6561692" y="472328"/>
          <a:ext cx="436242" cy="3214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400" dirty="0"/>
            <a:t>92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EBE5D8-8F5A-406F-9058-D272647DF5EE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AC0FE2-465B-49A3-853A-145793D6CE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1566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Chris To Present </a:t>
            </a:r>
          </a:p>
          <a:p>
            <a:r>
              <a:rPr lang="en-US" b="1" dirty="0"/>
              <a:t>Talking Points</a:t>
            </a:r>
          </a:p>
          <a:p>
            <a:endParaRPr lang="en-US" b="1" dirty="0"/>
          </a:p>
          <a:p>
            <a:r>
              <a:rPr lang="en-US" b="1" dirty="0"/>
              <a:t>The main purpose of this slide is to emphasize the transition of ISRM from a Service-based research organization to a Portfolio-based research organization </a:t>
            </a:r>
          </a:p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major part of ORD’s enterprise transformation is the transition of funding research through the Services to funding research through portfolio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ver the course of FY23, the ISRM Organization initiative will pilot different models of portfolios in order to determine which models work best for ISRM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ur goal is then to transition from funding research through the 4 Services to funding research through Actively Managed Portfolios and Broad Portfolio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se portfolios will prioritize collaboration and cross-cutting partnerships with researchers, clinicians, and other VA stakeholder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launched Precision Oncology as the first prototype Actively Managed Portfolio during FY22 and are working to stand up a second AMP focused on treating Veteran pain and a Broad Portfolio focused on health systems research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e next slide, we’ll cover what makes each of these prototype portfolios unique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6F5BD2-1108-4C05-90EC-7F7A4D21DA3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2442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Chris to Present </a:t>
            </a:r>
          </a:p>
          <a:p>
            <a:r>
              <a:rPr lang="en-US" b="1" dirty="0"/>
              <a:t>Talking Points</a:t>
            </a:r>
          </a:p>
          <a:p>
            <a:endParaRPr lang="en-US" b="1" dirty="0"/>
          </a:p>
          <a:p>
            <a:r>
              <a:rPr lang="en-US" b="1" i="1" dirty="0"/>
              <a:t>The main purpose of this slide is to highlight the 3 test portfolios and what makes each of them different.  </a:t>
            </a:r>
          </a:p>
          <a:p>
            <a:endParaRPr lang="en-US" dirty="0"/>
          </a:p>
          <a:p>
            <a:r>
              <a:rPr lang="en-US" dirty="0"/>
              <a:t>Precision Oncology AMP utiliz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single SPM leadership model, led by Dr. Ken Myri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defined budget that can only be spent on precision oncolog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new accelerated review process for priority research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Pain/Opioid Use AMP will utiliz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rotational leadership model amongst 4 SPMs from each of the Services. This leadership model is designed to increase collaboration across the Services and reduce duplicative research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competitive budg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tandard Merit Review processes 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Health Systems Research Broad Portfolio will utiliz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director-led leadership model, headed by Dr. David Atkin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defined budget for HSR proje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tandard Merit Review processe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Over fiscal year 23, ISRM will implement, measure, and evaluate these different portfolio models to help inform the overall portfolio design of ISRM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6BE72B-5095-46B0-B741-9CFCD80BF2F1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8167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9B73F7-48C1-6846-9B3F-8D3BA533F6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44008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9B73F7-48C1-6846-9B3F-8D3BA533F6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39748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9B73F7-48C1-6846-9B3F-8D3BA533F6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58012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9B73F7-48C1-6846-9B3F-8D3BA533F6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82702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48A499-0FEA-482F-BD9C-18A74F45714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0129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9B73F7-48C1-6846-9B3F-8D3BA533F6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73744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9B73F7-48C1-6846-9B3F-8D3BA533F6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1386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7CB7D-6187-46CB-8977-B97B89D472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ACDB5B-6015-4E66-AA43-C05FFBF1D4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29CAC2-40D9-4344-A58C-B56470F594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9774D1-929F-4726-A9AF-ADCBF6895651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218E03-B902-441C-B648-46CDDE9679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687C60-762C-4E3E-AB08-1913684D4C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8754A-FE69-43D8-AEF3-8D39430030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5545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D630F-BBA5-4FFE-8F3A-F19969F8E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54C37D-3592-4DA5-B45B-0A7CAF91B9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71F8E1-163A-463A-868E-003C1DF7D8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9774D1-929F-4726-A9AF-ADCBF6895651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8E9298-5981-407F-9583-5D1A5C2174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593F58-33DE-4836-95FB-C021C197D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8754A-FE69-43D8-AEF3-8D39430030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6927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B3FBE8-9A1A-4D48-94B9-E06FD09D7FF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55DA24C-26CB-4159-B3F8-F2F160CDE74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9A490C-6C05-40D6-A0C1-B8E99B61E1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9774D1-929F-4726-A9AF-ADCBF6895651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86EFA1-1C04-47CA-8BBE-443A80AC4E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E54F62-7F51-41F4-95E0-911A1A20F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8754A-FE69-43D8-AEF3-8D39430030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52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3721" y="2131620"/>
            <a:ext cx="6109680" cy="1983624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73721" y="4459463"/>
            <a:ext cx="6109680" cy="1131740"/>
          </a:xfrm>
        </p:spPr>
        <p:txBody>
          <a:bodyPr>
            <a:normAutofit/>
          </a:bodyPr>
          <a:lstStyle>
            <a:lvl1pPr marL="0" indent="0" algn="l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3721" y="578405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2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47B3BEB-1174-1B42-B9AC-4E46D655D84B}"/>
              </a:ext>
            </a:extLst>
          </p:cNvPr>
          <p:cNvCxnSpPr>
            <a:cxnSpLocks/>
          </p:cNvCxnSpPr>
          <p:nvPr userDrawn="1"/>
        </p:nvCxnSpPr>
        <p:spPr>
          <a:xfrm>
            <a:off x="805274" y="4255558"/>
            <a:ext cx="3641576" cy="0"/>
          </a:xfrm>
          <a:prstGeom prst="line">
            <a:avLst/>
          </a:prstGeom>
          <a:ln w="44450">
            <a:solidFill>
              <a:srgbClr val="0194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53768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648294"/>
            <a:ext cx="10515600" cy="105125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39383"/>
            <a:ext cx="10515600" cy="393068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12D91-5F71-FE4F-A594-B9667DC21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6806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3101930"/>
            <a:ext cx="7843227" cy="1702191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12D91-5F71-FE4F-A594-B9667DC2187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156CE847-A648-614F-9D37-EE8537F393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1851" y="2539222"/>
            <a:ext cx="7843227" cy="499403"/>
          </a:xfrm>
        </p:spPr>
        <p:txBody>
          <a:bodyPr anchor="b">
            <a:normAutofit/>
          </a:bodyPr>
          <a:lstStyle>
            <a:lvl1pPr marL="0" indent="0" algn="l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945972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648277"/>
            <a:ext cx="10515600" cy="105340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37819"/>
            <a:ext cx="5181600" cy="39291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37819"/>
            <a:ext cx="5181600" cy="39291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12D91-5F71-FE4F-A594-B9667DC21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2305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826452"/>
            <a:ext cx="5157787" cy="57677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466606"/>
            <a:ext cx="5157787" cy="31851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826452"/>
            <a:ext cx="5183188" cy="57677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466606"/>
            <a:ext cx="5183188" cy="31851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12D91-5F71-FE4F-A594-B9667DC2187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5BCD1B-3815-C342-9679-E1E92B1E76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648676"/>
            <a:ext cx="10515600" cy="104994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22527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640719"/>
            <a:ext cx="10515600" cy="105507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12D91-5F71-FE4F-A594-B9667DC21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7705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12D91-5F71-FE4F-A594-B9667DC21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8564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7250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954F5B-7403-44AE-91AB-92EB344C6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501654-7260-4CD0-B8C6-BB98065FFD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4D3F36-984E-4165-8D63-F80F808C20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9774D1-929F-4726-A9AF-ADCBF6895651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5D6C15-D596-460D-8218-2BA76D5C1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2B1895-021F-4049-B58D-762CEB61C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8754A-FE69-43D8-AEF3-8D39430030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2905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6138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116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2128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5291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2648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918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8571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5765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4938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7130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282C8-5C73-4161-AD7D-3B0CB5FA58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A1608B-41E0-47BF-8F63-39811FCB41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5B9E4D-8246-47FA-BC4D-0E5F55FF87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9774D1-929F-4726-A9AF-ADCBF6895651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8C22CD-27EC-436F-BBEF-2E2D14002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2BF831-6347-489D-89EA-8EF3C6431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8754A-FE69-43D8-AEF3-8D39430030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63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1549400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671763"/>
            <a:ext cx="9144000" cy="741362"/>
          </a:xfrm>
        </p:spPr>
        <p:txBody>
          <a:bodyPr anchor="ctr"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5943601"/>
            <a:ext cx="12192000" cy="914400"/>
          </a:xfrm>
          <a:prstGeom prst="rect">
            <a:avLst/>
          </a:prstGeom>
          <a:solidFill>
            <a:srgbClr val="1D3D77"/>
          </a:solidFill>
          <a:ln>
            <a:solidFill>
              <a:srgbClr val="1D3D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algn="l"/>
            <a:endParaRPr lang="en-US" sz="1800" b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FA54873-6EA7-42F1-8E4B-2FA1555C2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1340" t="39905" r="31340" b="39905"/>
          <a:stretch/>
        </p:blipFill>
        <p:spPr>
          <a:xfrm>
            <a:off x="5125039" y="6029314"/>
            <a:ext cx="1941922" cy="742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648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7678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B1D86FAE-8245-464A-B088-9BD91EED9D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9C639-C7C7-9848-BE32-492A9B56F14C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-4064" y="1327234"/>
            <a:ext cx="12196064" cy="39048"/>
            <a:chOff x="-3048" y="1344168"/>
            <a:chExt cx="9147048" cy="39048"/>
          </a:xfrm>
        </p:grpSpPr>
        <p:grpSp>
          <p:nvGrpSpPr>
            <p:cNvPr id="8" name="Group 7"/>
            <p:cNvGrpSpPr/>
            <p:nvPr userDrawn="1"/>
          </p:nvGrpSpPr>
          <p:grpSpPr>
            <a:xfrm>
              <a:off x="-3048" y="1344168"/>
              <a:ext cx="9147048" cy="15240"/>
              <a:chOff x="-3048" y="1344168"/>
              <a:chExt cx="9147048" cy="15240"/>
            </a:xfrm>
          </p:grpSpPr>
          <p:cxnSp>
            <p:nvCxnSpPr>
              <p:cNvPr id="12" name="Straight Connector 11"/>
              <p:cNvCxnSpPr/>
              <p:nvPr userDrawn="1"/>
            </p:nvCxnSpPr>
            <p:spPr>
              <a:xfrm>
                <a:off x="0" y="1344168"/>
                <a:ext cx="9144000" cy="0"/>
              </a:xfrm>
              <a:prstGeom prst="line">
                <a:avLst/>
              </a:prstGeom>
              <a:ln w="15875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/>
              <p:cNvCxnSpPr/>
              <p:nvPr userDrawn="1"/>
            </p:nvCxnSpPr>
            <p:spPr>
              <a:xfrm>
                <a:off x="-3048" y="1359408"/>
                <a:ext cx="9144000" cy="0"/>
              </a:xfrm>
              <a:prstGeom prst="line">
                <a:avLst/>
              </a:prstGeom>
              <a:ln w="15875"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oup 8"/>
            <p:cNvGrpSpPr/>
            <p:nvPr userDrawn="1"/>
          </p:nvGrpSpPr>
          <p:grpSpPr>
            <a:xfrm>
              <a:off x="-3048" y="1367976"/>
              <a:ext cx="9147048" cy="15240"/>
              <a:chOff x="-3048" y="1344168"/>
              <a:chExt cx="9147048" cy="15240"/>
            </a:xfrm>
          </p:grpSpPr>
          <p:cxnSp>
            <p:nvCxnSpPr>
              <p:cNvPr id="10" name="Straight Connector 9"/>
              <p:cNvCxnSpPr/>
              <p:nvPr userDrawn="1"/>
            </p:nvCxnSpPr>
            <p:spPr>
              <a:xfrm>
                <a:off x="0" y="1344168"/>
                <a:ext cx="9144000" cy="0"/>
              </a:xfrm>
              <a:prstGeom prst="line">
                <a:avLst/>
              </a:prstGeom>
              <a:ln w="158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/>
              <p:cNvCxnSpPr/>
              <p:nvPr userDrawn="1"/>
            </p:nvCxnSpPr>
            <p:spPr>
              <a:xfrm>
                <a:off x="-3048" y="1359408"/>
                <a:ext cx="9144000" cy="0"/>
              </a:xfrm>
              <a:prstGeom prst="line">
                <a:avLst/>
              </a:prstGeom>
              <a:ln w="158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5543648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971800"/>
            <a:ext cx="12192000" cy="914400"/>
          </a:xfrm>
          <a:prstGeom prst="rect">
            <a:avLst/>
          </a:prstGeom>
          <a:solidFill>
            <a:srgbClr val="1D3D7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pPr algn="l"/>
            <a:r>
              <a:rPr lang="en-US" sz="1800" b="1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1124218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9C639-C7C7-9848-BE32-492A9B56F14C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-4064" y="1327234"/>
            <a:ext cx="12196064" cy="39048"/>
            <a:chOff x="-3048" y="1344168"/>
            <a:chExt cx="9147048" cy="39048"/>
          </a:xfrm>
        </p:grpSpPr>
        <p:grpSp>
          <p:nvGrpSpPr>
            <p:cNvPr id="9" name="Group 8"/>
            <p:cNvGrpSpPr/>
            <p:nvPr userDrawn="1"/>
          </p:nvGrpSpPr>
          <p:grpSpPr>
            <a:xfrm>
              <a:off x="-3048" y="1344168"/>
              <a:ext cx="9147048" cy="15240"/>
              <a:chOff x="-3048" y="1344168"/>
              <a:chExt cx="9147048" cy="15240"/>
            </a:xfrm>
          </p:grpSpPr>
          <p:cxnSp>
            <p:nvCxnSpPr>
              <p:cNvPr id="13" name="Straight Connector 12"/>
              <p:cNvCxnSpPr/>
              <p:nvPr userDrawn="1"/>
            </p:nvCxnSpPr>
            <p:spPr>
              <a:xfrm>
                <a:off x="0" y="1344168"/>
                <a:ext cx="9144000" cy="0"/>
              </a:xfrm>
              <a:prstGeom prst="line">
                <a:avLst/>
              </a:prstGeom>
              <a:ln w="15875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 userDrawn="1"/>
            </p:nvCxnSpPr>
            <p:spPr>
              <a:xfrm>
                <a:off x="-3048" y="1359408"/>
                <a:ext cx="9144000" cy="0"/>
              </a:xfrm>
              <a:prstGeom prst="line">
                <a:avLst/>
              </a:prstGeom>
              <a:ln w="15875"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/>
            <p:cNvGrpSpPr/>
            <p:nvPr userDrawn="1"/>
          </p:nvGrpSpPr>
          <p:grpSpPr>
            <a:xfrm>
              <a:off x="-3048" y="1367976"/>
              <a:ext cx="9147048" cy="15240"/>
              <a:chOff x="-3048" y="1344168"/>
              <a:chExt cx="9147048" cy="15240"/>
            </a:xfrm>
          </p:grpSpPr>
          <p:cxnSp>
            <p:nvCxnSpPr>
              <p:cNvPr id="11" name="Straight Connector 10"/>
              <p:cNvCxnSpPr/>
              <p:nvPr userDrawn="1"/>
            </p:nvCxnSpPr>
            <p:spPr>
              <a:xfrm>
                <a:off x="0" y="1344168"/>
                <a:ext cx="9144000" cy="0"/>
              </a:xfrm>
              <a:prstGeom prst="line">
                <a:avLst/>
              </a:prstGeom>
              <a:ln w="158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/>
              <p:cNvCxnSpPr/>
              <p:nvPr userDrawn="1"/>
            </p:nvCxnSpPr>
            <p:spPr>
              <a:xfrm>
                <a:off x="-3048" y="1359408"/>
                <a:ext cx="9144000" cy="0"/>
              </a:xfrm>
              <a:prstGeom prst="line">
                <a:avLst/>
              </a:prstGeom>
              <a:ln w="158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3488563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9C639-C7C7-9848-BE32-492A9B56F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6427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354351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6D2629B5-85F1-42F2-BD53-4635991BC8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9C639-C7C7-9848-BE32-492A9B56F14C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-4064" y="1327234"/>
            <a:ext cx="12196064" cy="39048"/>
            <a:chOff x="-3048" y="1344168"/>
            <a:chExt cx="9147048" cy="39048"/>
          </a:xfrm>
        </p:grpSpPr>
        <p:grpSp>
          <p:nvGrpSpPr>
            <p:cNvPr id="7" name="Group 6"/>
            <p:cNvGrpSpPr/>
            <p:nvPr userDrawn="1"/>
          </p:nvGrpSpPr>
          <p:grpSpPr>
            <a:xfrm>
              <a:off x="-3048" y="1344168"/>
              <a:ext cx="9147048" cy="15240"/>
              <a:chOff x="-3048" y="1344168"/>
              <a:chExt cx="9147048" cy="15240"/>
            </a:xfrm>
          </p:grpSpPr>
          <p:cxnSp>
            <p:nvCxnSpPr>
              <p:cNvPr id="11" name="Straight Connector 10"/>
              <p:cNvCxnSpPr/>
              <p:nvPr userDrawn="1"/>
            </p:nvCxnSpPr>
            <p:spPr>
              <a:xfrm>
                <a:off x="0" y="1344168"/>
                <a:ext cx="9144000" cy="0"/>
              </a:xfrm>
              <a:prstGeom prst="line">
                <a:avLst/>
              </a:prstGeom>
              <a:ln w="15875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/>
              <p:cNvCxnSpPr/>
              <p:nvPr userDrawn="1"/>
            </p:nvCxnSpPr>
            <p:spPr>
              <a:xfrm>
                <a:off x="-3048" y="1359408"/>
                <a:ext cx="9144000" cy="0"/>
              </a:xfrm>
              <a:prstGeom prst="line">
                <a:avLst/>
              </a:prstGeom>
              <a:ln w="15875"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oup 7"/>
            <p:cNvGrpSpPr/>
            <p:nvPr userDrawn="1"/>
          </p:nvGrpSpPr>
          <p:grpSpPr>
            <a:xfrm>
              <a:off x="-3048" y="1367976"/>
              <a:ext cx="9147048" cy="15240"/>
              <a:chOff x="-3048" y="1344168"/>
              <a:chExt cx="9147048" cy="15240"/>
            </a:xfrm>
          </p:grpSpPr>
          <p:cxnSp>
            <p:nvCxnSpPr>
              <p:cNvPr id="9" name="Straight Connector 8"/>
              <p:cNvCxnSpPr/>
              <p:nvPr userDrawn="1"/>
            </p:nvCxnSpPr>
            <p:spPr>
              <a:xfrm>
                <a:off x="0" y="1344168"/>
                <a:ext cx="9144000" cy="0"/>
              </a:xfrm>
              <a:prstGeom prst="line">
                <a:avLst/>
              </a:prstGeom>
              <a:ln w="158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/>
              <p:cNvCxnSpPr/>
              <p:nvPr userDrawn="1"/>
            </p:nvCxnSpPr>
            <p:spPr>
              <a:xfrm>
                <a:off x="-3048" y="1359408"/>
                <a:ext cx="9144000" cy="0"/>
              </a:xfrm>
              <a:prstGeom prst="line">
                <a:avLst/>
              </a:prstGeom>
              <a:ln w="158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0716781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9C639-C7C7-9848-BE32-492A9B56F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0664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9C639-C7C7-9848-BE32-492A9B56F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6499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9C639-C7C7-9848-BE32-492A9B56F1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452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6C9A41-D5F9-46EB-A26E-7BD2D4A470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387714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C6C9A41-D5F9-46EB-A26E-7BD2D4A47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A147FA0-3B82-44B0-9315-2050500B86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Helvetica" panose="020B0604020202020204" pitchFamily="34" charset="0"/>
              <a:ea typeface="+mj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1" y="99547"/>
            <a:ext cx="11658600" cy="968375"/>
          </a:xfrm>
        </p:spPr>
        <p:txBody>
          <a:bodyPr>
            <a:noAutofit/>
          </a:bodyPr>
          <a:lstStyle>
            <a:lvl1pPr algn="l">
              <a:defRPr sz="32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CA4C74AB-2B3B-434B-9892-DA5D78E986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/>
              <a:t>WASHINGTON METROPOLITAN AREA TRANSIT AUTHORITY</a:t>
            </a:r>
          </a:p>
        </p:txBody>
      </p:sp>
    </p:spTree>
    <p:extLst>
      <p:ext uri="{BB962C8B-B14F-4D97-AF65-F5344CB8AC3E}">
        <p14:creationId xmlns:p14="http://schemas.microsoft.com/office/powerpoint/2010/main" val="2747007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BD4CB-61FD-4656-94F5-8E5920EAAD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09D8C5-3634-4CB7-B5A3-1D8D78593C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F93C65-34D8-4427-B9D7-A7783D4A6A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95827B-AFFA-4909-BD7B-5DE005B902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9774D1-929F-4726-A9AF-ADCBF6895651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7E1977-57BD-4D70-AAFA-93489EC018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0150EE2-4F5A-4A63-8612-52F009398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8754A-FE69-43D8-AEF3-8D39430030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6062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6C9A41-D5F9-46EB-A26E-7BD2D4A470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71962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C6C9A41-D5F9-46EB-A26E-7BD2D4A47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A147FA0-3B82-44B0-9315-2050500B86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Helvetica" panose="020B0604020202020204" pitchFamily="34" charset="0"/>
              <a:ea typeface="+mj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1" y="99547"/>
            <a:ext cx="11658600" cy="968375"/>
          </a:xfrm>
        </p:spPr>
        <p:txBody>
          <a:bodyPr>
            <a:noAutofit/>
          </a:bodyPr>
          <a:lstStyle>
            <a:lvl1pPr algn="l">
              <a:defRPr sz="32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8043752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224EE4-AD06-440E-BFFD-75963037B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AD5D93-850C-4101-88BC-BBD4322F8D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D28697D-4418-4BC6-9469-0B0621176C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27C3C0-4635-4EA5-8D9E-B33FE90B2A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0ACA53-BA4D-4112-9159-FBB070A199B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7FFDE7B-12F9-4E7D-804B-A626A6263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9774D1-929F-4726-A9AF-ADCBF6895651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4439351-C52E-4BBF-BB8B-2B46DF236A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A7D28B8-78A0-42CB-BCFF-BE24CB666D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8754A-FE69-43D8-AEF3-8D39430030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9853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97CE87-EC18-4226-96E4-E075F66375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A55595-5970-456D-B9CF-32C337D5C7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9774D1-929F-4726-A9AF-ADCBF6895651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B381E0-2A3D-42CC-AE19-EB90B58C2A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58745F-E526-43CC-A0D4-695543B4AD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8754A-FE69-43D8-AEF3-8D39430030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184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76797DC-5D4F-444C-B794-695683EE03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9774D1-929F-4726-A9AF-ADCBF6895651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83B2F0-FEB0-45DB-942B-2BD28DEAF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F4C75A-C623-4DF9-8985-C3EA3E4A8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8754A-FE69-43D8-AEF3-8D39430030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999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58776F-07EB-4A68-AEA8-FC207190A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3CC86C-E2A4-4118-9E50-3FB203C886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A5B28D-4D52-40A4-AB2F-8F2ECF5A4E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0ADE52-F6E7-4782-9BE5-1E80D99E2B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9774D1-929F-4726-A9AF-ADCBF6895651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E12C3C-931C-40CB-994A-884B39B5F9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9564E5-4A05-44F4-BD51-1FF446D7D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8754A-FE69-43D8-AEF3-8D39430030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0184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26220E-4315-4486-AA48-5BB339AF9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6450D6-7080-4A6F-B4DC-BE99EAEA96A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61D792-C433-49B8-ADE2-C7AF7B6A8C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A8F12A-0080-411A-B98A-8BEF8A0C94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9774D1-929F-4726-A9AF-ADCBF6895651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58CCAF-5AD2-497A-AD97-1E77C4797B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1F4375-A7E1-472D-8A5A-FD786FBDA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78754A-FE69-43D8-AEF3-8D39430030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9895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4.xml"/><Relationship Id="rId17" Type="http://schemas.openxmlformats.org/officeDocument/2006/relationships/image" Target="../media/image5.jpeg"/><Relationship Id="rId2" Type="http://schemas.openxmlformats.org/officeDocument/2006/relationships/slideLayout" Target="../slideLayouts/slideLayout31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10F81F3-27C7-4132-955E-DD5C00532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84961E-3CE9-4AC1-B2D2-1B52ED26A5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72617E-B2FD-4F75-A2E8-2AFDC6CBFE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9774D1-929F-4726-A9AF-ADCBF6895651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7A5C16-C727-41EE-B4B7-E1825E6FDB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4FF8CF-300A-42E4-B3CE-56B7D6DD7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78754A-FE69-43D8-AEF3-8D39430030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942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41156"/>
            <a:ext cx="10515600" cy="39322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244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1">
                <a:solidFill>
                  <a:srgbClr val="00467F"/>
                </a:solidFill>
              </a:defRPr>
            </a:lvl1pPr>
          </a:lstStyle>
          <a:p>
            <a:fld id="{ACD12D91-5F71-FE4F-A594-B9667DC218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92133D9A-FEDB-CB44-B97D-B34F9A51FE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47938"/>
            <a:ext cx="10515600" cy="10475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1676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500" b="1" kern="1200">
          <a:solidFill>
            <a:srgbClr val="00467F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194D3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194D3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194D3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194D3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194D3"/>
        </a:buClr>
        <a:buFont typeface="Arial" panose="020B0604020202020204" pitchFamily="34" charset="0"/>
        <a:buChar char="•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7ED9C8-F09A-4D9E-BEC0-4725162E21FF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620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6469382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5" imgH="416" progId="TCLayout.ActiveDocument.1">
                  <p:embed/>
                </p:oleObj>
              </mc:Choice>
              <mc:Fallback>
                <p:oleObj name="think-cell Slide" r:id="rId1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ED98D25-F0A1-4646-A4C4-7FEDD79A3300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144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09C639-C7C7-9848-BE32-492A9B56F14C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83" y="6327775"/>
            <a:ext cx="1453482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331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EB270761-CC40-4F3F-A916-7E3BC39893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1695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820855C-9FA4-417A-BE67-63C022F819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91540"/>
            <a:ext cx="722376" cy="5071110"/>
          </a:xfrm>
          <a:prstGeom prst="rect">
            <a:avLst/>
          </a:prstGeom>
          <a:solidFill>
            <a:srgbClr val="4C52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7E6A49B-1B06-403E-8CC5-ACB38A6BDE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202435" y="891540"/>
            <a:ext cx="10989565" cy="507111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869755-DFA6-450B-B1D4-BD0B5F9593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6159" y="1660121"/>
            <a:ext cx="9623405" cy="2210543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pPr algn="ctr"/>
            <a:r>
              <a:rPr lang="en-US" sz="62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VA Suicide Prevention Research</a:t>
            </a:r>
            <a:br>
              <a:rPr lang="en-US" sz="62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sz="5300" dirty="0"/>
              <a:t>Advisory Council</a:t>
            </a:r>
            <a:endParaRPr lang="en-US" sz="53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24423C-65F1-43A1-ACFC-874D9409D6CA}"/>
              </a:ext>
            </a:extLst>
          </p:cNvPr>
          <p:cNvSpPr txBox="1"/>
          <p:nvPr/>
        </p:nvSpPr>
        <p:spPr>
          <a:xfrm>
            <a:off x="7830105" y="5140171"/>
            <a:ext cx="31594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Joseph Constans</a:t>
            </a:r>
          </a:p>
          <a:p>
            <a:r>
              <a:rPr lang="en-US" dirty="0"/>
              <a:t>March 28, 2023</a:t>
            </a:r>
          </a:p>
        </p:txBody>
      </p:sp>
    </p:spTree>
    <p:extLst>
      <p:ext uri="{BB962C8B-B14F-4D97-AF65-F5344CB8AC3E}">
        <p14:creationId xmlns:p14="http://schemas.microsoft.com/office/powerpoint/2010/main" val="15619728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AAEFE-2B89-4657-A326-EA6E896E49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1447800"/>
            <a:ext cx="10363200" cy="1549400"/>
          </a:xfrm>
        </p:spPr>
        <p:txBody>
          <a:bodyPr>
            <a:normAutofit fontScale="90000"/>
          </a:bodyPr>
          <a:lstStyle/>
          <a:p>
            <a:r>
              <a:rPr lang="en-US"/>
              <a:t>Suicide Prevention Portfolio Analysis Report</a:t>
            </a:r>
            <a:br>
              <a:rPr lang="en-US"/>
            </a:b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AA7FA3-996E-42EA-BCCD-5370D2F548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66651" y="2474885"/>
            <a:ext cx="9144000" cy="741362"/>
          </a:xfrm>
        </p:spPr>
        <p:txBody>
          <a:bodyPr>
            <a:normAutofit fontScale="92500" lnSpcReduction="20000"/>
          </a:bodyPr>
          <a:lstStyle/>
          <a:p>
            <a:pPr algn="l"/>
            <a:r>
              <a:rPr lang="en-US" b="0" i="0" dirty="0">
                <a:solidFill>
                  <a:srgbClr val="202124"/>
                </a:solidFill>
                <a:effectLst/>
              </a:rPr>
              <a:t>Veterans Health Administration Office of Research and Development</a:t>
            </a:r>
            <a:endParaRPr lang="en-US" dirty="0"/>
          </a:p>
          <a:p>
            <a:r>
              <a:rPr lang="en-US" dirty="0"/>
              <a:t>October 202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B88070-1F63-FD9F-CB0A-48F619ADABAD}"/>
              </a:ext>
            </a:extLst>
          </p:cNvPr>
          <p:cNvSpPr txBox="1"/>
          <p:nvPr/>
        </p:nvSpPr>
        <p:spPr>
          <a:xfrm>
            <a:off x="2615878" y="3641754"/>
            <a:ext cx="7760825" cy="18312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b="1" dirty="0"/>
              <a:t>Strategic Goals </a:t>
            </a:r>
            <a:r>
              <a:rPr lang="en-US" dirty="0"/>
              <a:t>– Strategic Goals for the Suicide Prevention portfolio were co-created by VA researchers and the analytic team for this analysis. Studies were analyzed to determine if they aligned to one more of these strategic goals. </a:t>
            </a:r>
            <a:r>
              <a:rPr lang="en-US" i="1" dirty="0"/>
              <a:t>Limited to studies started after 2018 </a:t>
            </a:r>
          </a:p>
          <a:p>
            <a:pPr marL="628650" lvl="1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b="1" dirty="0">
                <a:ea typeface="+mn-lt"/>
                <a:cs typeface="+mn-lt"/>
              </a:rPr>
              <a:t>Alignment</a:t>
            </a:r>
            <a:r>
              <a:rPr lang="en-US" dirty="0">
                <a:ea typeface="+mn-lt"/>
                <a:cs typeface="+mn-lt"/>
              </a:rPr>
              <a:t> – Whether a study or publication contributes to or supports a strategic goal</a:t>
            </a:r>
          </a:p>
        </p:txBody>
      </p:sp>
    </p:spTree>
    <p:extLst>
      <p:ext uri="{BB962C8B-B14F-4D97-AF65-F5344CB8AC3E}">
        <p14:creationId xmlns:p14="http://schemas.microsoft.com/office/powerpoint/2010/main" val="1519348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4B7279-955C-4BC3-9DC3-2E474D9E33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336" y="365126"/>
            <a:ext cx="10951464" cy="914400"/>
          </a:xfrm>
        </p:spPr>
        <p:txBody>
          <a:bodyPr>
            <a:normAutofit fontScale="90000"/>
          </a:bodyPr>
          <a:lstStyle/>
          <a:p>
            <a:r>
              <a:rPr lang="en-US" sz="2400" dirty="0">
                <a:solidFill>
                  <a:srgbClr val="0E101A"/>
                </a:solidFill>
              </a:rPr>
              <a:t>Strategic Directions &amp; Goals from VA’s National Strategy for Preventing Veteran Suicide; </a:t>
            </a:r>
            <a:br>
              <a:rPr lang="en-US" sz="2400" dirty="0">
                <a:solidFill>
                  <a:srgbClr val="0E101A"/>
                </a:solidFill>
              </a:rPr>
            </a:br>
            <a:r>
              <a:rPr lang="en-US" sz="2400" dirty="0">
                <a:solidFill>
                  <a:srgbClr val="0E101A"/>
                </a:solidFill>
              </a:rPr>
              <a:t>All studies started after 2018 were analyzed for alignment to one or more objective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AF1224-4DA1-41AC-AAD3-DF8F1C50FA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09C639-C7C7-9848-BE32-492A9B56F14C}" type="slidenum">
              <a:rPr lang="en-US" smtClean="0"/>
              <a:t>11</a:t>
            </a:fld>
            <a:endParaRPr lang="en-US"/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A3EBE21E-CECD-4FB9-8536-6099EBA38112}"/>
              </a:ext>
            </a:extLst>
          </p:cNvPr>
          <p:cNvGraphicFramePr>
            <a:graphicFrameLocks noGrp="1"/>
          </p:cNvGraphicFramePr>
          <p:nvPr/>
        </p:nvGraphicFramePr>
        <p:xfrm>
          <a:off x="1633591" y="2162490"/>
          <a:ext cx="9361467" cy="414916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589108">
                  <a:extLst>
                    <a:ext uri="{9D8B030D-6E8A-4147-A177-3AD203B41FA5}">
                      <a16:colId xmlns:a16="http://schemas.microsoft.com/office/drawing/2014/main" val="173414491"/>
                    </a:ext>
                  </a:extLst>
                </a:gridCol>
                <a:gridCol w="7772359">
                  <a:extLst>
                    <a:ext uri="{9D8B030D-6E8A-4147-A177-3AD203B41FA5}">
                      <a16:colId xmlns:a16="http://schemas.microsoft.com/office/drawing/2014/main" val="3289614524"/>
                    </a:ext>
                  </a:extLst>
                </a:gridCol>
              </a:tblGrid>
              <a:tr h="1236388">
                <a:tc>
                  <a:txBody>
                    <a:bodyPr/>
                    <a:lstStyle/>
                    <a:p>
                      <a:r>
                        <a:rPr lang="en-US" sz="1100" b="1"/>
                        <a:t>STRATEGIC DIRECTION 1: Healthy and Empowered Veterans, Families, and Communities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dirty="0"/>
                        <a:t>GOAL 1</a:t>
                      </a:r>
                      <a:r>
                        <a:rPr lang="en-US" sz="1100" dirty="0"/>
                        <a:t> — Integrate and coordinate Veteran suicide prevention activities across multiple sectors and settings. </a:t>
                      </a:r>
                    </a:p>
                    <a:p>
                      <a:r>
                        <a:rPr lang="en-US" sz="1100" b="1" dirty="0"/>
                        <a:t>GOAL 2</a:t>
                      </a:r>
                      <a:r>
                        <a:rPr lang="en-US" sz="1100" dirty="0"/>
                        <a:t> — Implement research-informed communication efforts designed to prevent Veteran suicide by changing knowledge, attitudes, and behaviors. </a:t>
                      </a:r>
                    </a:p>
                    <a:p>
                      <a:r>
                        <a:rPr lang="en-US" sz="1100" b="1" dirty="0"/>
                        <a:t>GOAL 3</a:t>
                      </a:r>
                      <a:r>
                        <a:rPr lang="en-US" sz="1100" dirty="0"/>
                        <a:t> — Increase knowledge of the factors that offer Veterans protection from suicidal behaviors and that promote their wellness and recovery. </a:t>
                      </a:r>
                    </a:p>
                    <a:p>
                      <a:r>
                        <a:rPr lang="en-US" sz="1100" b="1" dirty="0"/>
                        <a:t>GOAL 4</a:t>
                      </a:r>
                      <a:r>
                        <a:rPr lang="en-US" sz="1100" dirty="0"/>
                        <a:t> — Promote responsible media reporting of Veteran suicide, accurate portrayals of Veteran suicide and mental illnesses in the entertainment industry, and the safety of online content related to Veteran suicid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8541597"/>
                  </a:ext>
                </a:extLst>
              </a:tr>
              <a:tr h="744812">
                <a:tc>
                  <a:txBody>
                    <a:bodyPr/>
                    <a:lstStyle/>
                    <a:p>
                      <a:r>
                        <a:rPr lang="en-US" sz="1100" b="1"/>
                        <a:t>STRATEGIC DIRECTION 2: Clinical and Community Preventive Services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dirty="0"/>
                        <a:t>GOAL 5 </a:t>
                      </a:r>
                      <a:r>
                        <a:rPr lang="en-US" sz="1100" dirty="0"/>
                        <a:t>— Develop, implement, and monitor effective programs that promote wellness and prevent Veteran suicide and related behaviors. </a:t>
                      </a:r>
                    </a:p>
                    <a:p>
                      <a:r>
                        <a:rPr lang="en-US" sz="1100" b="1" dirty="0"/>
                        <a:t>GOAL 6</a:t>
                      </a:r>
                      <a:r>
                        <a:rPr lang="en-US" sz="1100" dirty="0"/>
                        <a:t> — Promote efforts to reduce access to lethal means of suicide among Veterans with identified suicide risk. </a:t>
                      </a:r>
                    </a:p>
                    <a:p>
                      <a:r>
                        <a:rPr lang="en-US" sz="1100" b="1" dirty="0"/>
                        <a:t>GOAL 7</a:t>
                      </a:r>
                      <a:r>
                        <a:rPr lang="en-US" sz="1100" dirty="0"/>
                        <a:t> — Provide training to community and clinical service providers on the prevention of suicide and related behavior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9840130"/>
                  </a:ext>
                </a:extLst>
              </a:tr>
              <a:tr h="908671">
                <a:tc>
                  <a:txBody>
                    <a:bodyPr/>
                    <a:lstStyle/>
                    <a:p>
                      <a:r>
                        <a:rPr lang="en-US" sz="1100" b="1"/>
                        <a:t>STRATEGIC DIRECTION 3: Treatment and Support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/>
                        <a:t>GOAL 8</a:t>
                      </a:r>
                      <a:r>
                        <a:rPr lang="en-US" sz="1100"/>
                        <a:t> — Promote suicide prevention as a core component of health care services. </a:t>
                      </a:r>
                    </a:p>
                    <a:p>
                      <a:r>
                        <a:rPr lang="en-US" sz="1100" b="1"/>
                        <a:t>GOAL 9</a:t>
                      </a:r>
                      <a:r>
                        <a:rPr lang="en-US" sz="1100"/>
                        <a:t> — Promote and implement effective clinical and professional practices for assessing and treating Veterans identified as being at risk for suicidal behaviors. </a:t>
                      </a:r>
                    </a:p>
                    <a:p>
                      <a:r>
                        <a:rPr lang="en-US" sz="1100" b="1"/>
                        <a:t>GOAL 10</a:t>
                      </a:r>
                      <a:r>
                        <a:rPr lang="en-US" sz="1100"/>
                        <a:t> — Provide care and support to individuals affected by suicide deaths and suicide attempts to promote healing, and implement community strategies to help prevent further suicides.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7812853"/>
                  </a:ext>
                </a:extLst>
              </a:tr>
              <a:tr h="1192606">
                <a:tc>
                  <a:txBody>
                    <a:bodyPr/>
                    <a:lstStyle/>
                    <a:p>
                      <a:r>
                        <a:rPr lang="en-US" sz="1100" b="1"/>
                        <a:t>STRATEGIC DIRECTION 4: Surveillance, Research, and Evalu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dirty="0"/>
                        <a:t>GOAL 11</a:t>
                      </a:r>
                      <a:r>
                        <a:rPr lang="en-US" sz="1100" dirty="0"/>
                        <a:t> — Increase the timeliness and usefulness of national surveillance systems relevant to preventing Veteran suicide and improve the ability to collect, analyze, and use this information for action. </a:t>
                      </a:r>
                    </a:p>
                    <a:p>
                      <a:r>
                        <a:rPr lang="en-US" sz="1100" b="1" dirty="0"/>
                        <a:t>GOAL 12</a:t>
                      </a:r>
                      <a:r>
                        <a:rPr lang="en-US" sz="1100" dirty="0"/>
                        <a:t> — Promote and support research on Veteran suicide prevention. </a:t>
                      </a:r>
                    </a:p>
                    <a:p>
                      <a:r>
                        <a:rPr lang="en-US" sz="1100" b="1" dirty="0"/>
                        <a:t>GOAL 13</a:t>
                      </a:r>
                      <a:r>
                        <a:rPr lang="en-US" sz="1100" dirty="0"/>
                        <a:t> — Evaluate the impact and effectiveness of Veteran suicide prevention interventions and systems, and synthesize and disseminate findings to inform future efforts. </a:t>
                      </a:r>
                    </a:p>
                    <a:p>
                      <a:r>
                        <a:rPr lang="en-US" sz="1100" b="1" dirty="0"/>
                        <a:t>GOAL 14</a:t>
                      </a:r>
                      <a:r>
                        <a:rPr lang="en-US" sz="1100" dirty="0"/>
                        <a:t> — Refine and expand the use of predictive analytics for at-risk Veterans and for known upstream risks such as opioid use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103718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8FB6CC6E-C139-42F2-9DB1-37B23F05BC91}"/>
              </a:ext>
            </a:extLst>
          </p:cNvPr>
          <p:cNvSpPr txBox="1"/>
          <p:nvPr/>
        </p:nvSpPr>
        <p:spPr>
          <a:xfrm>
            <a:off x="1001729" y="1374624"/>
            <a:ext cx="999332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VA Office of Mental Health and Suicide Prevention developed VA’s National Strategy for Preventing Veteran Suicide to highlight the importance of suicide prevention among Veterans and direct future ac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The National Strategy outlines 4 Strategic Directions and 14 corresponding Goal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184DB45-ACE2-ADFA-8707-CE8590188863}"/>
              </a:ext>
            </a:extLst>
          </p:cNvPr>
          <p:cNvSpPr txBox="1"/>
          <p:nvPr/>
        </p:nvSpPr>
        <p:spPr>
          <a:xfrm>
            <a:off x="137932" y="46253"/>
            <a:ext cx="9168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dirty="0">
                <a:solidFill>
                  <a:srgbClr val="FFFFFF"/>
                </a:solidFill>
              </a:rPr>
              <a:t>Determine Processes for Establishing Research Priorities 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927822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BCB512-3D1F-4FF9-99DB-16D23FCFD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CD12D91-5F71-FE4F-A594-B9667DC21877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497364-2414-4F01-B21C-1357CF4E307D}"/>
              </a:ext>
            </a:extLst>
          </p:cNvPr>
          <p:cNvSpPr txBox="1"/>
          <p:nvPr/>
        </p:nvSpPr>
        <p:spPr>
          <a:xfrm>
            <a:off x="137932" y="6411637"/>
            <a:ext cx="112158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1" name="Picture 10" descr="Chart&#10;&#10;Description automatically generated with medium confidence">
            <a:extLst>
              <a:ext uri="{FF2B5EF4-FFF2-40B4-BE49-F238E27FC236}">
                <a16:creationId xmlns:a16="http://schemas.microsoft.com/office/drawing/2014/main" id="{D99597E5-69EC-46C6-B9BE-651AD4A73A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78" y="1154396"/>
            <a:ext cx="11314243" cy="4589158"/>
          </a:xfrm>
          <a:prstGeom prst="rect">
            <a:avLst/>
          </a:prstGeom>
          <a:ln>
            <a:solidFill>
              <a:srgbClr val="FFFFFF"/>
            </a:solidFill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217837A-EA35-4F03-B3F6-71340A82C480}"/>
              </a:ext>
            </a:extLst>
          </p:cNvPr>
          <p:cNvSpPr/>
          <p:nvPr/>
        </p:nvSpPr>
        <p:spPr>
          <a:xfrm>
            <a:off x="7366571" y="1154396"/>
            <a:ext cx="3987229" cy="6846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652511-9CCB-4115-B17F-BA7EB52ED216}"/>
              </a:ext>
            </a:extLst>
          </p:cNvPr>
          <p:cNvSpPr txBox="1"/>
          <p:nvPr/>
        </p:nvSpPr>
        <p:spPr>
          <a:xfrm>
            <a:off x="137932" y="46253"/>
            <a:ext cx="9168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dirty="0">
                <a:solidFill>
                  <a:srgbClr val="FFFFFF"/>
                </a:solidFill>
              </a:rPr>
              <a:t>Determine Processes for Establishing Research Priorities 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666354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BCB512-3D1F-4FF9-99DB-16D23FCFD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19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algn="r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CD12D91-5F71-FE4F-A594-B9667DC21877}" type="slidenum">
              <a:rPr kumimoji="0" lang="en-US" sz="1100" b="1" i="0" u="none" strike="noStrike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rPr>
              <a:pPr marR="0" lvl="0" indent="0" algn="r" fontAlgn="auto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100" b="1" i="0" u="none" strike="noStrike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500C75-5534-8C43-71A4-EDF9BFD21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175" y="1818318"/>
            <a:ext cx="3816863" cy="4560970"/>
          </a:xfrm>
        </p:spPr>
        <p:txBody>
          <a:bodyPr>
            <a:normAutofit fontScale="90000"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Aim 2:  </a:t>
            </a:r>
            <a:br>
              <a:rPr lang="en-US" sz="4000" dirty="0">
                <a:solidFill>
                  <a:srgbClr val="FFFFFF"/>
                </a:solidFill>
              </a:rPr>
            </a:br>
            <a:br>
              <a:rPr lang="en-US" sz="4000" dirty="0">
                <a:solidFill>
                  <a:srgbClr val="FFFFFF"/>
                </a:solidFill>
              </a:rPr>
            </a:br>
            <a:r>
              <a:rPr lang="en-US" sz="4000" dirty="0">
                <a:solidFill>
                  <a:srgbClr val="FFFFFF"/>
                </a:solidFill>
              </a:rPr>
              <a:t>Determine Processes for Establishing Research Priorities and Creating Research Roadmap</a:t>
            </a: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F9405E-E4DD-452B-64AD-9328E1B1470F}"/>
              </a:ext>
            </a:extLst>
          </p:cNvPr>
          <p:cNvSpPr txBox="1"/>
          <p:nvPr/>
        </p:nvSpPr>
        <p:spPr>
          <a:xfrm>
            <a:off x="5416952" y="478712"/>
            <a:ext cx="54748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/>
              <a:t>Agenda for Upcoming Meeting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D9D92F-39AD-CF69-7800-9EA1A5B1B3EC}"/>
              </a:ext>
            </a:extLst>
          </p:cNvPr>
          <p:cNvSpPr txBox="1"/>
          <p:nvPr/>
        </p:nvSpPr>
        <p:spPr>
          <a:xfrm>
            <a:off x="4443241" y="1250066"/>
            <a:ext cx="757958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u="sng" dirty="0"/>
              <a:t>Apri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Description of Suicide Prevention Research Portfol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ain Opiate Use Portfolio presentation</a:t>
            </a:r>
          </a:p>
          <a:p>
            <a:r>
              <a:rPr lang="en-US" sz="2400" u="sng" dirty="0"/>
              <a:t>M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velopment of Suicide Prevention Dashbo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termining Purview</a:t>
            </a:r>
          </a:p>
          <a:p>
            <a:r>
              <a:rPr lang="en-US" sz="2400" u="sng" dirty="0"/>
              <a:t>Ju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stablishing a Char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rganizational Structure of Executive Committe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reventing COI</a:t>
            </a:r>
          </a:p>
          <a:p>
            <a:r>
              <a:rPr lang="en-US" sz="2400" u="sng" dirty="0"/>
              <a:t>Jul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tilization of CORES in Portfolio manag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rocesses for receiving guidance/feedback from fie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FA structure</a:t>
            </a:r>
          </a:p>
          <a:p>
            <a:r>
              <a:rPr lang="en-US" sz="2400" u="sng" dirty="0"/>
              <a:t>August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etrics for Succe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commendations to ISRM for Suicide Prevention Portfolio Management</a:t>
            </a:r>
          </a:p>
        </p:txBody>
      </p:sp>
    </p:spTree>
    <p:extLst>
      <p:ext uri="{BB962C8B-B14F-4D97-AF65-F5344CB8AC3E}">
        <p14:creationId xmlns:p14="http://schemas.microsoft.com/office/powerpoint/2010/main" val="4201917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F64D2C-3D4E-810D-6630-05FF0B2E4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063" y="461483"/>
            <a:ext cx="10515600" cy="618385"/>
          </a:xfrm>
        </p:spPr>
        <p:txBody>
          <a:bodyPr>
            <a:normAutofit fontScale="90000"/>
          </a:bodyPr>
          <a:lstStyle/>
          <a:p>
            <a:r>
              <a:rPr lang="en-US" sz="2400" dirty="0"/>
              <a:t>How ISRM is transitioning from Services-Based Research to Portfolio-Based Research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2800FC4-F31E-B2E0-0409-F6E1CD845EA1}"/>
              </a:ext>
            </a:extLst>
          </p:cNvPr>
          <p:cNvSpPr txBox="1"/>
          <p:nvPr/>
        </p:nvSpPr>
        <p:spPr>
          <a:xfrm>
            <a:off x="-706740" y="994147"/>
            <a:ext cx="5301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Four Services of Research Disciplines </a:t>
            </a:r>
          </a:p>
        </p:txBody>
      </p:sp>
      <p:sp>
        <p:nvSpPr>
          <p:cNvPr id="3" name="L-Shape 2">
            <a:extLst>
              <a:ext uri="{FF2B5EF4-FFF2-40B4-BE49-F238E27FC236}">
                <a16:creationId xmlns:a16="http://schemas.microsoft.com/office/drawing/2014/main" id="{6E2CA97C-1DC8-048D-366B-3AA8E1C7DDE8}"/>
              </a:ext>
            </a:extLst>
          </p:cNvPr>
          <p:cNvSpPr/>
          <p:nvPr/>
        </p:nvSpPr>
        <p:spPr>
          <a:xfrm rot="13595229">
            <a:off x="3298029" y="2845132"/>
            <a:ext cx="757298" cy="692854"/>
          </a:xfrm>
          <a:prstGeom prst="corner">
            <a:avLst>
              <a:gd name="adj1" fmla="val 36998"/>
              <a:gd name="adj2" fmla="val 38298"/>
            </a:avLst>
          </a:prstGeom>
          <a:solidFill>
            <a:srgbClr val="002F56"/>
          </a:solidFill>
          <a:ln>
            <a:solidFill>
              <a:srgbClr val="002F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8194EE7-C8FB-E2A5-D49C-99D80A01DCCA}"/>
              </a:ext>
            </a:extLst>
          </p:cNvPr>
          <p:cNvSpPr txBox="1"/>
          <p:nvPr/>
        </p:nvSpPr>
        <p:spPr>
          <a:xfrm>
            <a:off x="5241190" y="5295650"/>
            <a:ext cx="5928517" cy="584775"/>
          </a:xfrm>
          <a:prstGeom prst="rect">
            <a:avLst/>
          </a:prstGeom>
          <a:noFill/>
          <a:ln w="34925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ch Portfolio will </a:t>
            </a:r>
            <a:r>
              <a:rPr lang="en-US" sz="1600" i="1" dirty="0">
                <a:solidFill>
                  <a:prstClr val="black"/>
                </a:solidFill>
                <a:latin typeface="Calibri" panose="020F0502020204030204"/>
              </a:rPr>
              <a:t>be developed in a way to encourage cross-collaboration throughout the Field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49F5DDCF-FA12-0464-5CDD-BCEB668A69CB}"/>
              </a:ext>
            </a:extLst>
          </p:cNvPr>
          <p:cNvSpPr txBox="1"/>
          <p:nvPr/>
        </p:nvSpPr>
        <p:spPr>
          <a:xfrm>
            <a:off x="5554501" y="994147"/>
            <a:ext cx="5301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tively Managed Portfolios &amp; Broad Portfolios</a:t>
            </a:r>
          </a:p>
        </p:txBody>
      </p:sp>
      <p:sp>
        <p:nvSpPr>
          <p:cNvPr id="25" name="Slide Number Placeholder 2">
            <a:extLst>
              <a:ext uri="{FF2B5EF4-FFF2-40B4-BE49-F238E27FC236}">
                <a16:creationId xmlns:a16="http://schemas.microsoft.com/office/drawing/2014/main" id="{07B79218-E85D-E325-02EC-D109891A1507}"/>
              </a:ext>
            </a:extLst>
          </p:cNvPr>
          <p:cNvSpPr txBox="1">
            <a:spLocks/>
          </p:cNvSpPr>
          <p:nvPr/>
        </p:nvSpPr>
        <p:spPr>
          <a:xfrm>
            <a:off x="9434147" y="64893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A9334-4E67-F94F-A05E-0CE8B74A054E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866D5F36-9191-2AF0-384B-046D14A345EB}"/>
              </a:ext>
            </a:extLst>
          </p:cNvPr>
          <p:cNvSpPr/>
          <p:nvPr/>
        </p:nvSpPr>
        <p:spPr>
          <a:xfrm>
            <a:off x="5960661" y="1374407"/>
            <a:ext cx="1262651" cy="3575645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2F56"/>
                </a:solidFill>
              </a:rPr>
              <a:t>Clinical Science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R &amp; D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D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13D1FE4B-EF28-9EEC-CF8A-EF443D69021E}"/>
              </a:ext>
            </a:extLst>
          </p:cNvPr>
          <p:cNvSpPr/>
          <p:nvPr/>
        </p:nvSpPr>
        <p:spPr>
          <a:xfrm>
            <a:off x="6092570" y="1456362"/>
            <a:ext cx="1262651" cy="3575645"/>
          </a:xfrm>
          <a:prstGeom prst="roundRect">
            <a:avLst>
              <a:gd name="adj" fmla="val 16667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in/ Opioid Use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AMP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1/31/23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C3138B-5624-EA2B-76D5-C8C51C4464BB}"/>
              </a:ext>
            </a:extLst>
          </p:cNvPr>
          <p:cNvSpPr/>
          <p:nvPr/>
        </p:nvSpPr>
        <p:spPr>
          <a:xfrm>
            <a:off x="4337701" y="1374406"/>
            <a:ext cx="1262651" cy="3563416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2F56"/>
                </a:solidFill>
              </a:rPr>
              <a:t>Clinical Science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R &amp; D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D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587F4A1-5616-D3D0-99D3-78903D6D2513}"/>
              </a:ext>
            </a:extLst>
          </p:cNvPr>
          <p:cNvSpPr/>
          <p:nvPr/>
        </p:nvSpPr>
        <p:spPr>
          <a:xfrm>
            <a:off x="4488155" y="1456363"/>
            <a:ext cx="1262651" cy="3575645"/>
          </a:xfrm>
          <a:prstGeom prst="roundRect">
            <a:avLst>
              <a:gd name="adj" fmla="val 16667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recision Oncology AMP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11/1/22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21F0B574-1698-7088-A429-C0A2827BD41B}"/>
              </a:ext>
            </a:extLst>
          </p:cNvPr>
          <p:cNvSpPr/>
          <p:nvPr/>
        </p:nvSpPr>
        <p:spPr>
          <a:xfrm>
            <a:off x="7627085" y="1374407"/>
            <a:ext cx="1262651" cy="3575645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2F56"/>
                </a:solidFill>
              </a:rPr>
              <a:t>Clinical Science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R &amp; D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D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6869FA0-4C70-0680-59EB-E414AFB94D2A}"/>
              </a:ext>
            </a:extLst>
          </p:cNvPr>
          <p:cNvSpPr/>
          <p:nvPr/>
        </p:nvSpPr>
        <p:spPr>
          <a:xfrm>
            <a:off x="7758994" y="1456362"/>
            <a:ext cx="1262651" cy="3575645"/>
          </a:xfrm>
          <a:prstGeom prst="roundRect">
            <a:avLst>
              <a:gd name="adj" fmla="val 16667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3</a:t>
            </a:r>
            <a:r>
              <a:rPr lang="en-US" sz="1600" b="1" baseline="30000" dirty="0">
                <a:solidFill>
                  <a:schemeClr val="tx1"/>
                </a:solidFill>
              </a:rPr>
              <a:t>rd</a:t>
            </a:r>
            <a:r>
              <a:rPr lang="en-US" sz="1600" b="1" dirty="0">
                <a:solidFill>
                  <a:schemeClr val="tx1"/>
                </a:solidFill>
              </a:rPr>
              <a:t> </a:t>
            </a:r>
            <a:r>
              <a:rPr lang="en-US" sz="1600" b="1" strike="noStrike" dirty="0">
                <a:solidFill>
                  <a:schemeClr val="tx1"/>
                </a:solidFill>
              </a:rPr>
              <a:t>AMP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TBD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C9A32838-6B29-8C0D-F58F-EDF5D9C842D2}"/>
              </a:ext>
            </a:extLst>
          </p:cNvPr>
          <p:cNvSpPr/>
          <p:nvPr/>
        </p:nvSpPr>
        <p:spPr>
          <a:xfrm>
            <a:off x="9203449" y="1374449"/>
            <a:ext cx="1262651" cy="3563416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2F56"/>
                </a:solidFill>
              </a:rPr>
              <a:t>Clinical Science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R &amp; D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D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A02ABC7-0E0C-7FEE-1030-A24F9E509A09}"/>
              </a:ext>
            </a:extLst>
          </p:cNvPr>
          <p:cNvSpPr/>
          <p:nvPr/>
        </p:nvSpPr>
        <p:spPr>
          <a:xfrm>
            <a:off x="9335358" y="1456403"/>
            <a:ext cx="1262651" cy="3575645"/>
          </a:xfrm>
          <a:prstGeom prst="roundRect">
            <a:avLst>
              <a:gd name="adj" fmla="val 16667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Health System Services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Broad Portfolio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1/31/23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B1A669FF-BE44-1FD7-8B7E-776B24266D04}"/>
              </a:ext>
            </a:extLst>
          </p:cNvPr>
          <p:cNvSpPr/>
          <p:nvPr/>
        </p:nvSpPr>
        <p:spPr>
          <a:xfrm>
            <a:off x="10724489" y="1374407"/>
            <a:ext cx="1262651" cy="3563416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2F56"/>
                </a:solidFill>
              </a:rPr>
              <a:t>Clinical Science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R &amp; D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D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549206FB-51E8-648F-EC9B-899B1915465A}"/>
              </a:ext>
            </a:extLst>
          </p:cNvPr>
          <p:cNvSpPr/>
          <p:nvPr/>
        </p:nvSpPr>
        <p:spPr>
          <a:xfrm>
            <a:off x="10856398" y="1456403"/>
            <a:ext cx="1262651" cy="3575645"/>
          </a:xfrm>
          <a:prstGeom prst="roundRect">
            <a:avLst>
              <a:gd name="adj" fmla="val 16667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2</a:t>
            </a:r>
            <a:r>
              <a:rPr lang="en-US" sz="1600" b="1" baseline="30000" dirty="0">
                <a:solidFill>
                  <a:schemeClr val="tx1"/>
                </a:solidFill>
              </a:rPr>
              <a:t>nd</a:t>
            </a:r>
            <a:r>
              <a:rPr lang="en-US" sz="1600" b="1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Broad Portfolio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TBD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D7C87F7B-6696-EAEE-9EFA-33F57BCEA5BF}"/>
              </a:ext>
            </a:extLst>
          </p:cNvPr>
          <p:cNvSpPr/>
          <p:nvPr/>
        </p:nvSpPr>
        <p:spPr>
          <a:xfrm>
            <a:off x="1906396" y="1430058"/>
            <a:ext cx="1262651" cy="1608909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2F56"/>
                </a:solidFill>
              </a:rPr>
              <a:t>Clinical Science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R &amp; D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D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E48D197F-DE61-AA33-0126-021E96BA9EAE}"/>
              </a:ext>
            </a:extLst>
          </p:cNvPr>
          <p:cNvSpPr/>
          <p:nvPr/>
        </p:nvSpPr>
        <p:spPr>
          <a:xfrm>
            <a:off x="1906396" y="3384565"/>
            <a:ext cx="1262651" cy="1608909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2F56"/>
                </a:solidFill>
              </a:rPr>
              <a:t>Clinical Science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R &amp; D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D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D412396A-4867-DBC8-2378-4314F7D7501E}"/>
              </a:ext>
            </a:extLst>
          </p:cNvPr>
          <p:cNvSpPr/>
          <p:nvPr/>
        </p:nvSpPr>
        <p:spPr>
          <a:xfrm>
            <a:off x="289582" y="3384565"/>
            <a:ext cx="1262651" cy="1608909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2F56"/>
                </a:solidFill>
              </a:rPr>
              <a:t>Clinical Science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R &amp; D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D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F5493BB7-78F1-06A4-0218-E707E5144A67}"/>
              </a:ext>
            </a:extLst>
          </p:cNvPr>
          <p:cNvSpPr/>
          <p:nvPr/>
        </p:nvSpPr>
        <p:spPr>
          <a:xfrm>
            <a:off x="433890" y="3478749"/>
            <a:ext cx="1262651" cy="1608909"/>
          </a:xfrm>
          <a:prstGeom prst="roundRect">
            <a:avLst>
              <a:gd name="adj" fmla="val 16667"/>
            </a:avLst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strike="noStrike" dirty="0">
                <a:solidFill>
                  <a:schemeClr val="tx1"/>
                </a:solidFill>
              </a:rPr>
              <a:t>Health Services </a:t>
            </a:r>
          </a:p>
          <a:p>
            <a:pPr algn="ctr"/>
            <a:r>
              <a:rPr lang="en-US" sz="1600" b="1" strike="noStrike" dirty="0">
                <a:solidFill>
                  <a:schemeClr val="tx1"/>
                </a:solidFill>
              </a:rPr>
              <a:t>R &amp; D </a:t>
            </a:r>
            <a:endParaRPr lang="en-US" sz="1600" b="1" dirty="0">
              <a:solidFill>
                <a:schemeClr val="tx1"/>
              </a:solidFill>
            </a:endParaRP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1E1CBE90-71DD-2E99-26E9-88558B865DF9}"/>
              </a:ext>
            </a:extLst>
          </p:cNvPr>
          <p:cNvSpPr/>
          <p:nvPr/>
        </p:nvSpPr>
        <p:spPr>
          <a:xfrm>
            <a:off x="2038305" y="1512013"/>
            <a:ext cx="1262651" cy="1608909"/>
          </a:xfrm>
          <a:prstGeom prst="roundRect">
            <a:avLst>
              <a:gd name="adj" fmla="val 16667"/>
            </a:avLst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Rehab 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R &amp; D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773A8B0B-3562-8868-953F-2AC4E14E6436}"/>
              </a:ext>
            </a:extLst>
          </p:cNvPr>
          <p:cNvSpPr/>
          <p:nvPr/>
        </p:nvSpPr>
        <p:spPr>
          <a:xfrm>
            <a:off x="283436" y="1430058"/>
            <a:ext cx="1262651" cy="1608909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2F56"/>
                </a:solidFill>
              </a:rPr>
              <a:t>Clinical Science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R &amp; D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D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F147685B-9832-3AB4-8B4F-8F5099578375}"/>
              </a:ext>
            </a:extLst>
          </p:cNvPr>
          <p:cNvSpPr/>
          <p:nvPr/>
        </p:nvSpPr>
        <p:spPr>
          <a:xfrm>
            <a:off x="2038305" y="3478749"/>
            <a:ext cx="1262651" cy="1608909"/>
          </a:xfrm>
          <a:prstGeom prst="roundRect">
            <a:avLst>
              <a:gd name="adj" fmla="val 16667"/>
            </a:avLst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Bio-medical Lab 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R &amp; D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9D4A6796-75A8-E7B3-F96F-8C9FFC31BA37}"/>
              </a:ext>
            </a:extLst>
          </p:cNvPr>
          <p:cNvSpPr/>
          <p:nvPr/>
        </p:nvSpPr>
        <p:spPr>
          <a:xfrm>
            <a:off x="433890" y="1512013"/>
            <a:ext cx="1262651" cy="1608909"/>
          </a:xfrm>
          <a:prstGeom prst="roundRect">
            <a:avLst>
              <a:gd name="adj" fmla="val 16667"/>
            </a:avLst>
          </a:prstGeom>
          <a:solidFill>
            <a:srgbClr val="EBE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Clinical Science 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R &amp; D 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8762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B14ED-6A7B-3D7E-8819-FCA6C8415E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950" y="406712"/>
            <a:ext cx="10515600" cy="618385"/>
          </a:xfrm>
        </p:spPr>
        <p:txBody>
          <a:bodyPr/>
          <a:lstStyle/>
          <a:p>
            <a:r>
              <a:rPr lang="en-US" sz="2400" dirty="0"/>
              <a:t>ISRM Organization Initiative: Testing New Portfolio Design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D1390C-AB05-C7FB-CBC8-82B1369269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D7D426-9F32-D938-A44A-325FFBDAB8F6}"/>
              </a:ext>
            </a:extLst>
          </p:cNvPr>
          <p:cNvSpPr txBox="1"/>
          <p:nvPr/>
        </p:nvSpPr>
        <p:spPr>
          <a:xfrm>
            <a:off x="2342210" y="1108040"/>
            <a:ext cx="75075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  <a:ea typeface="+mn-lt"/>
                <a:cs typeface="+mn-lt"/>
              </a:rPr>
              <a:t>ISRM will pilot-test different leadership models, funding models, and review processes through AMPs and Broad Portfolios </a:t>
            </a:r>
            <a:endParaRPr lang="en-US" dirty="0">
              <a:solidFill>
                <a:srgbClr val="002060"/>
              </a:solidFill>
              <a:ea typeface="+mn-lt"/>
              <a:cs typeface="+mn-lt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4793BE1-395D-041C-E524-43F3654F5A6B}"/>
              </a:ext>
            </a:extLst>
          </p:cNvPr>
          <p:cNvSpPr/>
          <p:nvPr/>
        </p:nvSpPr>
        <p:spPr>
          <a:xfrm>
            <a:off x="4832501" y="2036558"/>
            <a:ext cx="2051114" cy="3563416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2F56"/>
                </a:solidFill>
              </a:rPr>
              <a:t>Clinical Science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R &amp; D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D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B85CE15-D836-B79A-1C49-5DA7DE679D38}"/>
              </a:ext>
            </a:extLst>
          </p:cNvPr>
          <p:cNvSpPr/>
          <p:nvPr/>
        </p:nvSpPr>
        <p:spPr>
          <a:xfrm>
            <a:off x="4982955" y="2118515"/>
            <a:ext cx="2051114" cy="3575645"/>
          </a:xfrm>
          <a:prstGeom prst="roundRect">
            <a:avLst>
              <a:gd name="adj" fmla="val 16667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ain / Opioid Use AMP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Rotational model of 4 SPMs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Competitive Budget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Standard Merit Review 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8D8571-13BC-53B2-2598-22AC011A8F52}"/>
              </a:ext>
            </a:extLst>
          </p:cNvPr>
          <p:cNvSpPr txBox="1"/>
          <p:nvPr/>
        </p:nvSpPr>
        <p:spPr>
          <a:xfrm>
            <a:off x="289284" y="3269876"/>
            <a:ext cx="1906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Leadership Mod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C89440-5460-2CED-8635-D201CEB01E5E}"/>
              </a:ext>
            </a:extLst>
          </p:cNvPr>
          <p:cNvSpPr txBox="1"/>
          <p:nvPr/>
        </p:nvSpPr>
        <p:spPr>
          <a:xfrm>
            <a:off x="482385" y="3978406"/>
            <a:ext cx="16341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Funding Mod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A1CCEEE-48C7-55AE-57F2-39F8EFA1C527}"/>
              </a:ext>
            </a:extLst>
          </p:cNvPr>
          <p:cNvSpPr txBox="1"/>
          <p:nvPr/>
        </p:nvSpPr>
        <p:spPr>
          <a:xfrm>
            <a:off x="482385" y="4687860"/>
            <a:ext cx="16341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Review Process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7C6F9AE-E546-078F-4401-FEAC410EE6A7}"/>
              </a:ext>
            </a:extLst>
          </p:cNvPr>
          <p:cNvSpPr/>
          <p:nvPr/>
        </p:nvSpPr>
        <p:spPr>
          <a:xfrm>
            <a:off x="2191756" y="2036558"/>
            <a:ext cx="2051114" cy="3563416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2F56"/>
                </a:solidFill>
              </a:rPr>
              <a:t>Clinical Science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R &amp; D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D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EEC8D19-9E22-99BC-9CC8-E5DB1811D601}"/>
              </a:ext>
            </a:extLst>
          </p:cNvPr>
          <p:cNvSpPr/>
          <p:nvPr/>
        </p:nvSpPr>
        <p:spPr>
          <a:xfrm>
            <a:off x="2342210" y="2118515"/>
            <a:ext cx="2051114" cy="3575645"/>
          </a:xfrm>
          <a:prstGeom prst="roundRect">
            <a:avLst>
              <a:gd name="adj" fmla="val 16667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Precision Oncology AMP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Single SPM Model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Defined Budget 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Accelerated Review + Standard Merit Review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E920A14-FAB3-8BD6-F5B1-B493D24E5FE3}"/>
              </a:ext>
            </a:extLst>
          </p:cNvPr>
          <p:cNvSpPr/>
          <p:nvPr/>
        </p:nvSpPr>
        <p:spPr>
          <a:xfrm>
            <a:off x="7473246" y="2108627"/>
            <a:ext cx="2051114" cy="3563416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2F56"/>
                </a:solidFill>
              </a:rPr>
              <a:t>Clinical Science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R &amp; D </a:t>
            </a:r>
          </a:p>
          <a:p>
            <a:pPr algn="ctr"/>
            <a:r>
              <a:rPr lang="en-US" sz="1600" dirty="0">
                <a:solidFill>
                  <a:srgbClr val="002F56"/>
                </a:solidFill>
              </a:rPr>
              <a:t>D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B32609A-8067-DC89-E5DE-C6ADEC822856}"/>
              </a:ext>
            </a:extLst>
          </p:cNvPr>
          <p:cNvSpPr/>
          <p:nvPr/>
        </p:nvSpPr>
        <p:spPr>
          <a:xfrm>
            <a:off x="7623700" y="2190584"/>
            <a:ext cx="2051114" cy="3575645"/>
          </a:xfrm>
          <a:prstGeom prst="roundRect">
            <a:avLst>
              <a:gd name="adj" fmla="val 16667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Health Systems Broad Portfolio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Director-led model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Defined Budget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Standard Merit Review </a:t>
            </a:r>
          </a:p>
          <a:p>
            <a:pPr algn="ctr"/>
            <a:endParaRPr lang="en-US" sz="1600" b="1" dirty="0">
              <a:solidFill>
                <a:schemeClr val="tx1"/>
              </a:solidFill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12B7F00-91C0-83FC-E4D6-72B18F46E1E7}"/>
              </a:ext>
            </a:extLst>
          </p:cNvPr>
          <p:cNvCxnSpPr>
            <a:cxnSpLocks/>
          </p:cNvCxnSpPr>
          <p:nvPr/>
        </p:nvCxnSpPr>
        <p:spPr>
          <a:xfrm>
            <a:off x="2342210" y="3639208"/>
            <a:ext cx="205111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61DA58D-799D-CA81-2237-34240E11340E}"/>
              </a:ext>
            </a:extLst>
          </p:cNvPr>
          <p:cNvCxnSpPr>
            <a:cxnSpLocks/>
          </p:cNvCxnSpPr>
          <p:nvPr/>
        </p:nvCxnSpPr>
        <p:spPr>
          <a:xfrm>
            <a:off x="2342210" y="4443250"/>
            <a:ext cx="205111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B4038D9-9538-4FE0-523C-A181E60E426D}"/>
              </a:ext>
            </a:extLst>
          </p:cNvPr>
          <p:cNvCxnSpPr>
            <a:cxnSpLocks/>
          </p:cNvCxnSpPr>
          <p:nvPr/>
        </p:nvCxnSpPr>
        <p:spPr>
          <a:xfrm>
            <a:off x="4982955" y="3639208"/>
            <a:ext cx="205111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BF14136-3699-6D75-1075-06FB9027BA4E}"/>
              </a:ext>
            </a:extLst>
          </p:cNvPr>
          <p:cNvCxnSpPr>
            <a:cxnSpLocks/>
          </p:cNvCxnSpPr>
          <p:nvPr/>
        </p:nvCxnSpPr>
        <p:spPr>
          <a:xfrm>
            <a:off x="4982955" y="4443250"/>
            <a:ext cx="205111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9BB49C4-95AF-D0B9-3722-CA267676BF3E}"/>
              </a:ext>
            </a:extLst>
          </p:cNvPr>
          <p:cNvCxnSpPr>
            <a:cxnSpLocks/>
          </p:cNvCxnSpPr>
          <p:nvPr/>
        </p:nvCxnSpPr>
        <p:spPr>
          <a:xfrm>
            <a:off x="7623700" y="3682236"/>
            <a:ext cx="205111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D2D4B5F-2466-0490-92D5-D2BB8E920086}"/>
              </a:ext>
            </a:extLst>
          </p:cNvPr>
          <p:cNvCxnSpPr>
            <a:cxnSpLocks/>
          </p:cNvCxnSpPr>
          <p:nvPr/>
        </p:nvCxnSpPr>
        <p:spPr>
          <a:xfrm>
            <a:off x="7623700" y="4486278"/>
            <a:ext cx="205111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93293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4ADCF5C-42D2-4AF7-95ED-8ACE2E9B64E5}"/>
              </a:ext>
            </a:extLst>
          </p:cNvPr>
          <p:cNvSpPr txBox="1">
            <a:spLocks/>
          </p:cNvSpPr>
          <p:nvPr/>
        </p:nvSpPr>
        <p:spPr bwMode="auto">
          <a:xfrm>
            <a:off x="782528" y="2501549"/>
            <a:ext cx="2880828" cy="307190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</a:pPr>
            <a:r>
              <a:rPr lang="en-US" alt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VA Research Advisory Committee</a:t>
            </a:r>
          </a:p>
          <a:p>
            <a:pPr eaLnBrk="1" hangingPunct="1">
              <a:lnSpc>
                <a:spcPct val="90000"/>
              </a:lnSpc>
              <a:spcAft>
                <a:spcPts val="600"/>
              </a:spcAft>
            </a:pPr>
            <a:r>
              <a:rPr lang="en-US" alt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Memb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BCB512-3D1F-4FF9-99DB-16D23FCFD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19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algn="r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CD12D91-5F71-FE4F-A594-B9667DC21877}" type="slidenum">
              <a:rPr kumimoji="0" lang="en-US" sz="1100" b="1" i="0" u="none" strike="noStrike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rPr>
              <a:pPr marR="0" lvl="0" indent="0" algn="r" fontAlgn="auto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100" b="1" i="0" u="none" strike="noStrike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89425F96-22CE-4175-A7F2-1073A05CE7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1485" y="393016"/>
            <a:ext cx="3604024" cy="6062648"/>
          </a:xfrm>
        </p:spPr>
        <p:txBody>
          <a:bodyPr>
            <a:noAutofit/>
          </a:bodyPr>
          <a:lstStyle/>
          <a:p>
            <a:pPr marL="0" marR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200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MHSP</a:t>
            </a:r>
          </a:p>
          <a:p>
            <a:pPr marL="0" marR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tt Miller, Director SP</a:t>
            </a:r>
          </a:p>
          <a:p>
            <a:pPr marL="0" marR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an Strickland, SP</a:t>
            </a:r>
          </a:p>
          <a:p>
            <a:pPr marL="0" marR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2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200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MHSP Center Leads</a:t>
            </a:r>
          </a:p>
          <a:p>
            <a:pPr marL="0" marR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isa Brenner, RM MIRECC</a:t>
            </a:r>
          </a:p>
          <a:p>
            <a:pPr marL="0" marR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ephanie Gamble, </a:t>
            </a:r>
            <a:r>
              <a:rPr lang="en-US" sz="22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E</a:t>
            </a:r>
            <a:endParaRPr lang="en-US" sz="2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2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200" u="sng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RD Center Leads</a:t>
            </a:r>
          </a:p>
          <a:p>
            <a:pPr marL="0" marR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eve Dobscha, SPRINT</a:t>
            </a:r>
          </a:p>
          <a:p>
            <a:pPr marL="0" marR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rian Marx, SPRINT</a:t>
            </a:r>
          </a:p>
          <a:p>
            <a:pPr marL="0" marR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2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it-IT" sz="2200" u="sng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T/VA Data</a:t>
            </a:r>
          </a:p>
          <a:p>
            <a:pPr marL="0" marR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it-IT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odi Trafton</a:t>
            </a:r>
          </a:p>
          <a:p>
            <a:pPr marL="0" marR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2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1ECFFF5E-DAAB-40B7-93EA-575062B51A12}"/>
              </a:ext>
            </a:extLst>
          </p:cNvPr>
          <p:cNvSpPr txBox="1">
            <a:spLocks/>
          </p:cNvSpPr>
          <p:nvPr/>
        </p:nvSpPr>
        <p:spPr>
          <a:xfrm>
            <a:off x="8398923" y="208343"/>
            <a:ext cx="3604024" cy="66124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194D3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194D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194D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194D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194D3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200" u="sng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RD Leadership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ndy Tenhula,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vid Atkins, HSRD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2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200" u="sng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ther agencie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even O’Connor, NIH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lissa Mehalick, DoD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2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200" u="sng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RD Manager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oseph Constans, SP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ob O’Brien, HSRD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etisha </a:t>
            </a:r>
            <a:r>
              <a:rPr lang="en-US" sz="22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cClair</a:t>
            </a: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CSRD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ter Hunt, RRD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2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200" u="sng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min Support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2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ani Braxton-Allen</a:t>
            </a:r>
            <a:endParaRPr lang="en-US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15562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5" name="Rectangle 44">
            <a:extLst>
              <a:ext uri="{FF2B5EF4-FFF2-40B4-BE49-F238E27FC236}">
                <a16:creationId xmlns:a16="http://schemas.microsoft.com/office/drawing/2014/main" id="{76EFD3D9-44F0-4267-BCC1-1613E79D82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Freeform 6">
            <a:extLst>
              <a:ext uri="{FF2B5EF4-FFF2-40B4-BE49-F238E27FC236}">
                <a16:creationId xmlns:a16="http://schemas.microsoft.com/office/drawing/2014/main" id="{A779A851-95D6-41AF-937A-B0E4B7F6FA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142164" y="900814"/>
            <a:ext cx="759618" cy="5710965"/>
          </a:xfrm>
          <a:custGeom>
            <a:avLst/>
            <a:gdLst>
              <a:gd name="T0" fmla="*/ 414 w 414"/>
              <a:gd name="T1" fmla="*/ 2447 h 2447"/>
              <a:gd name="T2" fmla="*/ 0 w 414"/>
              <a:gd name="T3" fmla="*/ 2247 h 2447"/>
              <a:gd name="T4" fmla="*/ 0 w 414"/>
              <a:gd name="T5" fmla="*/ 0 h 2447"/>
              <a:gd name="T6" fmla="*/ 414 w 414"/>
              <a:gd name="T7" fmla="*/ 200 h 2447"/>
              <a:gd name="T8" fmla="*/ 414 w 414"/>
              <a:gd name="T9" fmla="*/ 2447 h 2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4" h="2447">
                <a:moveTo>
                  <a:pt x="414" y="2447"/>
                </a:moveTo>
                <a:lnTo>
                  <a:pt x="0" y="2247"/>
                </a:lnTo>
                <a:lnTo>
                  <a:pt x="0" y="0"/>
                </a:lnTo>
                <a:lnTo>
                  <a:pt x="414" y="200"/>
                </a:lnTo>
                <a:lnTo>
                  <a:pt x="414" y="244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Freeform 7">
            <a:extLst>
              <a:ext uri="{FF2B5EF4-FFF2-40B4-BE49-F238E27FC236}">
                <a16:creationId xmlns:a16="http://schemas.microsoft.com/office/drawing/2014/main" id="{953FB2E7-B6CB-429C-81EB-D9516D6D5C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144437" y="633165"/>
            <a:ext cx="482654" cy="5521414"/>
          </a:xfrm>
          <a:custGeom>
            <a:avLst/>
            <a:gdLst>
              <a:gd name="T0" fmla="*/ 209 w 209"/>
              <a:gd name="T1" fmla="*/ 2246 h 2358"/>
              <a:gd name="T2" fmla="*/ 0 w 209"/>
              <a:gd name="T3" fmla="*/ 2358 h 2358"/>
              <a:gd name="T4" fmla="*/ 0 w 209"/>
              <a:gd name="T5" fmla="*/ 111 h 2358"/>
              <a:gd name="T6" fmla="*/ 209 w 209"/>
              <a:gd name="T7" fmla="*/ 0 h 2358"/>
              <a:gd name="T8" fmla="*/ 209 w 209"/>
              <a:gd name="T9" fmla="*/ 2246 h 2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" h="2358">
                <a:moveTo>
                  <a:pt x="209" y="2246"/>
                </a:moveTo>
                <a:lnTo>
                  <a:pt x="0" y="2358"/>
                </a:lnTo>
                <a:lnTo>
                  <a:pt x="0" y="111"/>
                </a:lnTo>
                <a:lnTo>
                  <a:pt x="209" y="0"/>
                </a:lnTo>
                <a:lnTo>
                  <a:pt x="209" y="224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2EC40DB1-B719-4A13-9A4D-0966B4B278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4621" y="636723"/>
            <a:ext cx="4000062" cy="5257799"/>
          </a:xfrm>
          <a:custGeom>
            <a:avLst/>
            <a:gdLst>
              <a:gd name="connsiteX0" fmla="*/ 0 w 4634682"/>
              <a:gd name="connsiteY0" fmla="*/ 0 h 5257799"/>
              <a:gd name="connsiteX1" fmla="*/ 4634682 w 4634682"/>
              <a:gd name="connsiteY1" fmla="*/ 0 h 5257799"/>
              <a:gd name="connsiteX2" fmla="*/ 4634682 w 4634682"/>
              <a:gd name="connsiteY2" fmla="*/ 5257799 h 5257799"/>
              <a:gd name="connsiteX3" fmla="*/ 0 w 4634682"/>
              <a:gd name="connsiteY3" fmla="*/ 5257799 h 5257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34682" h="5257799">
                <a:moveTo>
                  <a:pt x="0" y="0"/>
                </a:moveTo>
                <a:lnTo>
                  <a:pt x="4634682" y="0"/>
                </a:lnTo>
                <a:lnTo>
                  <a:pt x="4634682" y="5257799"/>
                </a:lnTo>
                <a:lnTo>
                  <a:pt x="0" y="5257799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5121F6-2624-433C-93C5-524C9F09EF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228" y="982272"/>
            <a:ext cx="3816863" cy="4560970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Aim 1:  </a:t>
            </a:r>
            <a:br>
              <a:rPr lang="en-US" sz="4000" dirty="0">
                <a:solidFill>
                  <a:srgbClr val="FFFFFF"/>
                </a:solidFill>
              </a:rPr>
            </a:br>
            <a:br>
              <a:rPr lang="en-US" sz="4000" dirty="0">
                <a:solidFill>
                  <a:srgbClr val="FFFFFF"/>
                </a:solidFill>
              </a:rPr>
            </a:br>
            <a:r>
              <a:rPr lang="en-US" sz="4000" dirty="0">
                <a:solidFill>
                  <a:srgbClr val="FFFFFF"/>
                </a:solidFill>
              </a:rPr>
              <a:t>Improve Communication &amp; Coordination</a:t>
            </a: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53" name="Rectangle 8">
            <a:extLst>
              <a:ext uri="{FF2B5EF4-FFF2-40B4-BE49-F238E27FC236}">
                <a16:creationId xmlns:a16="http://schemas.microsoft.com/office/drawing/2014/main" id="{82211336-CFF3-412D-868A-6679C1004C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901782" y="1352302"/>
            <a:ext cx="6655597" cy="52516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81C84E-7ACF-49F2-9507-865E77DDB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07624" y="6175188"/>
            <a:ext cx="685800" cy="32004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ACD12D91-5F71-FE4F-A594-B9667DC21877}" type="slidenum">
              <a:rPr lang="en-US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5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EC50749-00BA-BC7B-FA4A-101DF4683F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0142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BCB512-3D1F-4FF9-99DB-16D23FCFD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19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algn="r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CD12D91-5F71-FE4F-A594-B9667DC21877}" type="slidenum">
              <a:rPr kumimoji="0" lang="en-US" sz="1100" b="1" i="0" u="none" strike="noStrike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rPr>
              <a:pPr marR="0" lvl="0" indent="0" algn="r" fontAlgn="auto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100" b="1" i="0" u="none" strike="noStrike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85E651F-7F70-426F-89D9-F7C1691E3C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2090090"/>
              </p:ext>
            </p:extLst>
          </p:nvPr>
        </p:nvGraphicFramePr>
        <p:xfrm>
          <a:off x="4502428" y="467208"/>
          <a:ext cx="7225748" cy="5923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itle 1">
            <a:extLst>
              <a:ext uri="{FF2B5EF4-FFF2-40B4-BE49-F238E27FC236}">
                <a16:creationId xmlns:a16="http://schemas.microsoft.com/office/drawing/2014/main" id="{3DDC113A-ECBE-4F13-99B5-44434DC18C9D}"/>
              </a:ext>
            </a:extLst>
          </p:cNvPr>
          <p:cNvSpPr txBox="1">
            <a:spLocks/>
          </p:cNvSpPr>
          <p:nvPr/>
        </p:nvSpPr>
        <p:spPr bwMode="auto">
          <a:xfrm>
            <a:off x="3954021" y="109431"/>
            <a:ext cx="8530897" cy="757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8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VA ORD  Suicide Prevention Investment FY16-22</a:t>
            </a:r>
            <a:endParaRPr kumimoji="0" lang="en-US" altLang="en-US" sz="2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BF19B4B-526A-4D84-8C3A-923EEC50ED1B}"/>
              </a:ext>
            </a:extLst>
          </p:cNvPr>
          <p:cNvSpPr txBox="1"/>
          <p:nvPr/>
        </p:nvSpPr>
        <p:spPr>
          <a:xfrm>
            <a:off x="5794785" y="6390792"/>
            <a:ext cx="5267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tal funding for the period of FY22 was $18,698,405</a:t>
            </a:r>
            <a:endParaRPr lang="en-US" dirty="0">
              <a:solidFill>
                <a:prstClr val="black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7967F1-3B7D-D771-0A5B-635F94198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8" y="1829822"/>
            <a:ext cx="3816863" cy="4560970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Aim 1:  </a:t>
            </a:r>
            <a:br>
              <a:rPr lang="en-US" sz="4000" dirty="0">
                <a:solidFill>
                  <a:srgbClr val="FFFFFF"/>
                </a:solidFill>
              </a:rPr>
            </a:br>
            <a:br>
              <a:rPr lang="en-US" sz="4000" dirty="0">
                <a:solidFill>
                  <a:srgbClr val="FFFFFF"/>
                </a:solidFill>
              </a:rPr>
            </a:br>
            <a:r>
              <a:rPr lang="en-US" sz="4000" dirty="0">
                <a:solidFill>
                  <a:srgbClr val="FFFFFF"/>
                </a:solidFill>
              </a:rPr>
              <a:t>Improve Communication &amp; Coordination</a:t>
            </a:r>
            <a:endParaRPr lang="en-US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84232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BCB512-3D1F-4FF9-99DB-16D23FCFD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19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algn="r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CD12D91-5F71-FE4F-A594-B9667DC21877}" type="slidenum">
              <a:rPr kumimoji="0" lang="en-US" sz="1100" b="1" i="0" u="none" strike="noStrike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rPr>
              <a:pPr marR="0" lvl="0" indent="0" algn="r" fontAlgn="auto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100" b="1" i="0" u="none" strike="noStrike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CA1846-ACA6-49B0-9FF2-CBACB49EC3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3841" y="820689"/>
            <a:ext cx="8008534" cy="591577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014D6C9-3E04-4722-A763-48DFF7C3B072}"/>
              </a:ext>
            </a:extLst>
          </p:cNvPr>
          <p:cNvSpPr txBox="1"/>
          <p:nvPr/>
        </p:nvSpPr>
        <p:spPr>
          <a:xfrm>
            <a:off x="3991960" y="6404865"/>
            <a:ext cx="82466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ata Source: VA Suicide Prevention Research Tracked by SPRIN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C850E0B-F68F-4E11-96CC-DCF1832B87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36945" y="-37312"/>
            <a:ext cx="3420152" cy="768163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1DF76343-257D-05BF-17C9-5FF1D271BE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8" y="1829822"/>
            <a:ext cx="3816863" cy="4560970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Aim 1:  </a:t>
            </a:r>
            <a:br>
              <a:rPr lang="en-US" sz="4000" dirty="0">
                <a:solidFill>
                  <a:srgbClr val="FFFFFF"/>
                </a:solidFill>
              </a:rPr>
            </a:br>
            <a:br>
              <a:rPr lang="en-US" sz="4000" dirty="0">
                <a:solidFill>
                  <a:srgbClr val="FFFFFF"/>
                </a:solidFill>
              </a:rPr>
            </a:br>
            <a:r>
              <a:rPr lang="en-US" sz="4000" dirty="0">
                <a:solidFill>
                  <a:srgbClr val="FFFFFF"/>
                </a:solidFill>
              </a:rPr>
              <a:t>Improve Communication &amp; Coordination</a:t>
            </a:r>
            <a:endParaRPr lang="en-US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6027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BCB512-3D1F-4FF9-99DB-16D23FCFD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19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algn="r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CD12D91-5F71-FE4F-A594-B9667DC21877}" type="slidenum">
              <a:rPr kumimoji="0" lang="en-US" sz="1100" b="1" i="0" u="none" strike="noStrike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</a:rPr>
              <a:pPr marR="0" lvl="0" indent="0" algn="r" fontAlgn="auto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100" b="1" i="0" u="none" strike="noStrike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9EDCB14-8D46-403F-BEAC-55E3CD85BE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8368" y="311425"/>
            <a:ext cx="7313866" cy="560147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B32B40C-6B38-5152-D0FD-8D6A58DD1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675" y="1930320"/>
            <a:ext cx="3816863" cy="4560970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Aim 1:  </a:t>
            </a:r>
            <a:br>
              <a:rPr lang="en-US" sz="4000" dirty="0">
                <a:solidFill>
                  <a:srgbClr val="FFFFFF"/>
                </a:solidFill>
              </a:rPr>
            </a:br>
            <a:br>
              <a:rPr lang="en-US" sz="4000" dirty="0">
                <a:solidFill>
                  <a:srgbClr val="FFFFFF"/>
                </a:solidFill>
              </a:rPr>
            </a:br>
            <a:r>
              <a:rPr lang="en-US" sz="4000" dirty="0">
                <a:solidFill>
                  <a:srgbClr val="FFFFFF"/>
                </a:solidFill>
              </a:rPr>
              <a:t>Improve Communication &amp; Coordination</a:t>
            </a:r>
            <a:endParaRPr lang="en-US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35849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5" name="Rectangle 44">
            <a:extLst>
              <a:ext uri="{FF2B5EF4-FFF2-40B4-BE49-F238E27FC236}">
                <a16:creationId xmlns:a16="http://schemas.microsoft.com/office/drawing/2014/main" id="{76EFD3D9-44F0-4267-BCC1-1613E79D82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reeform 6">
            <a:extLst>
              <a:ext uri="{FF2B5EF4-FFF2-40B4-BE49-F238E27FC236}">
                <a16:creationId xmlns:a16="http://schemas.microsoft.com/office/drawing/2014/main" id="{A779A851-95D6-41AF-937A-B0E4B7F6FA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142164" y="900814"/>
            <a:ext cx="759618" cy="5710965"/>
          </a:xfrm>
          <a:custGeom>
            <a:avLst/>
            <a:gdLst>
              <a:gd name="T0" fmla="*/ 414 w 414"/>
              <a:gd name="T1" fmla="*/ 2447 h 2447"/>
              <a:gd name="T2" fmla="*/ 0 w 414"/>
              <a:gd name="T3" fmla="*/ 2247 h 2447"/>
              <a:gd name="T4" fmla="*/ 0 w 414"/>
              <a:gd name="T5" fmla="*/ 0 h 2447"/>
              <a:gd name="T6" fmla="*/ 414 w 414"/>
              <a:gd name="T7" fmla="*/ 200 h 2447"/>
              <a:gd name="T8" fmla="*/ 414 w 414"/>
              <a:gd name="T9" fmla="*/ 2447 h 2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4" h="2447">
                <a:moveTo>
                  <a:pt x="414" y="2447"/>
                </a:moveTo>
                <a:lnTo>
                  <a:pt x="0" y="2247"/>
                </a:lnTo>
                <a:lnTo>
                  <a:pt x="0" y="0"/>
                </a:lnTo>
                <a:lnTo>
                  <a:pt x="414" y="200"/>
                </a:lnTo>
                <a:lnTo>
                  <a:pt x="414" y="244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Freeform 7">
            <a:extLst>
              <a:ext uri="{FF2B5EF4-FFF2-40B4-BE49-F238E27FC236}">
                <a16:creationId xmlns:a16="http://schemas.microsoft.com/office/drawing/2014/main" id="{953FB2E7-B6CB-429C-81EB-D9516D6D5C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144437" y="633165"/>
            <a:ext cx="482654" cy="5521414"/>
          </a:xfrm>
          <a:custGeom>
            <a:avLst/>
            <a:gdLst>
              <a:gd name="T0" fmla="*/ 209 w 209"/>
              <a:gd name="T1" fmla="*/ 2246 h 2358"/>
              <a:gd name="T2" fmla="*/ 0 w 209"/>
              <a:gd name="T3" fmla="*/ 2358 h 2358"/>
              <a:gd name="T4" fmla="*/ 0 w 209"/>
              <a:gd name="T5" fmla="*/ 111 h 2358"/>
              <a:gd name="T6" fmla="*/ 209 w 209"/>
              <a:gd name="T7" fmla="*/ 0 h 2358"/>
              <a:gd name="T8" fmla="*/ 209 w 209"/>
              <a:gd name="T9" fmla="*/ 2246 h 2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" h="2358">
                <a:moveTo>
                  <a:pt x="209" y="2246"/>
                </a:moveTo>
                <a:lnTo>
                  <a:pt x="0" y="2358"/>
                </a:lnTo>
                <a:lnTo>
                  <a:pt x="0" y="111"/>
                </a:lnTo>
                <a:lnTo>
                  <a:pt x="209" y="0"/>
                </a:lnTo>
                <a:lnTo>
                  <a:pt x="209" y="224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2EC40DB1-B719-4A13-9A4D-0966B4B278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4621" y="636723"/>
            <a:ext cx="4000062" cy="5257799"/>
          </a:xfrm>
          <a:custGeom>
            <a:avLst/>
            <a:gdLst>
              <a:gd name="connsiteX0" fmla="*/ 0 w 4634682"/>
              <a:gd name="connsiteY0" fmla="*/ 0 h 5257799"/>
              <a:gd name="connsiteX1" fmla="*/ 4634682 w 4634682"/>
              <a:gd name="connsiteY1" fmla="*/ 0 h 5257799"/>
              <a:gd name="connsiteX2" fmla="*/ 4634682 w 4634682"/>
              <a:gd name="connsiteY2" fmla="*/ 5257799 h 5257799"/>
              <a:gd name="connsiteX3" fmla="*/ 0 w 4634682"/>
              <a:gd name="connsiteY3" fmla="*/ 5257799 h 5257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34682" h="5257799">
                <a:moveTo>
                  <a:pt x="0" y="0"/>
                </a:moveTo>
                <a:lnTo>
                  <a:pt x="4634682" y="0"/>
                </a:lnTo>
                <a:lnTo>
                  <a:pt x="4634682" y="5257799"/>
                </a:lnTo>
                <a:lnTo>
                  <a:pt x="0" y="5257799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5121F6-2624-433C-93C5-524C9F09EF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228" y="982272"/>
            <a:ext cx="3816863" cy="4560970"/>
          </a:xfrm>
        </p:spPr>
        <p:txBody>
          <a:bodyPr>
            <a:normAutofit fontScale="90000"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Aim 2:  </a:t>
            </a:r>
            <a:br>
              <a:rPr lang="en-US" sz="4000" dirty="0">
                <a:solidFill>
                  <a:srgbClr val="FFFFFF"/>
                </a:solidFill>
              </a:rPr>
            </a:br>
            <a:br>
              <a:rPr lang="en-US" sz="4000" dirty="0">
                <a:solidFill>
                  <a:srgbClr val="FFFFFF"/>
                </a:solidFill>
              </a:rPr>
            </a:br>
            <a:r>
              <a:rPr lang="en-US" sz="4000" dirty="0">
                <a:solidFill>
                  <a:srgbClr val="FFFFFF"/>
                </a:solidFill>
              </a:rPr>
              <a:t>Determine Processes for Establishing Research Priorities and Creating Research Roadmap</a:t>
            </a: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53" name="Rectangle 8">
            <a:extLst>
              <a:ext uri="{FF2B5EF4-FFF2-40B4-BE49-F238E27FC236}">
                <a16:creationId xmlns:a16="http://schemas.microsoft.com/office/drawing/2014/main" id="{82211336-CFF3-412D-868A-6679C1004C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901782" y="1352302"/>
            <a:ext cx="6655597" cy="52516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81C84E-7ACF-49F2-9507-865E77DDB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07624" y="6175188"/>
            <a:ext cx="685800" cy="320040"/>
          </a:xfrm>
        </p:spPr>
        <p:txBody>
          <a:bodyPr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CD12D91-5F71-FE4F-A594-B9667DC21877}" type="slidenum"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311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ekZCJivaDRbb15XBy4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hEjvxHkZArIW8CnUIW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W3NyM8OAwPtiS_TbSC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VlZztW_SdmZ05uTFmN8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ekZCJivaDRbb15XBy4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aper sized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t870E.pptm  -  Recovered" id="{A360D67B-A491-4755-A675-D5692D5213F2}" vid="{109FDCEF-953B-406A-8000-5CE39E56E3D0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B1E07F2C274044A140D89A2848318B" ma:contentTypeVersion="0" ma:contentTypeDescription="Create a new document." ma:contentTypeScope="" ma:versionID="96252eb261dcb8c93964b6fc62c193f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764bea3eb9b1a5be8fd57fac5fb459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052F0C1-9812-4842-90DE-CF713F1C4D66}"/>
</file>

<file path=customXml/itemProps2.xml><?xml version="1.0" encoding="utf-8"?>
<ds:datastoreItem xmlns:ds="http://schemas.openxmlformats.org/officeDocument/2006/customXml" ds:itemID="{34062476-9212-4C9F-8CFA-6CF1A7C38FD9}"/>
</file>

<file path=customXml/itemProps3.xml><?xml version="1.0" encoding="utf-8"?>
<ds:datastoreItem xmlns:ds="http://schemas.openxmlformats.org/officeDocument/2006/customXml" ds:itemID="{6ACF06A8-ECBF-4979-B036-EAC9BCFAC162}"/>
</file>

<file path=docProps/app.xml><?xml version="1.0" encoding="utf-8"?>
<Properties xmlns="http://schemas.openxmlformats.org/officeDocument/2006/extended-properties" xmlns:vt="http://schemas.openxmlformats.org/officeDocument/2006/docPropsVTypes">
  <TotalTime>6938</TotalTime>
  <Words>1349</Words>
  <Application>Microsoft Office PowerPoint</Application>
  <PresentationFormat>Widescreen</PresentationFormat>
  <Paragraphs>245</Paragraphs>
  <Slides>1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rial</vt:lpstr>
      <vt:lpstr>Calibri</vt:lpstr>
      <vt:lpstr>Calibri Light</vt:lpstr>
      <vt:lpstr>Helvetica</vt:lpstr>
      <vt:lpstr>Wingdings</vt:lpstr>
      <vt:lpstr>Office Theme</vt:lpstr>
      <vt:lpstr>1_Office Theme</vt:lpstr>
      <vt:lpstr>Custom Design</vt:lpstr>
      <vt:lpstr>Paper sized</vt:lpstr>
      <vt:lpstr>think-cell Slide</vt:lpstr>
      <vt:lpstr>VA Suicide Prevention Research Advisory Council</vt:lpstr>
      <vt:lpstr>How ISRM is transitioning from Services-Based Research to Portfolio-Based Research</vt:lpstr>
      <vt:lpstr>ISRM Organization Initiative: Testing New Portfolio Designs </vt:lpstr>
      <vt:lpstr>PowerPoint Presentation</vt:lpstr>
      <vt:lpstr>Aim 1:    Improve Communication &amp; Coordination</vt:lpstr>
      <vt:lpstr>Aim 1:    Improve Communication &amp; Coordination</vt:lpstr>
      <vt:lpstr>Aim 1:    Improve Communication &amp; Coordination</vt:lpstr>
      <vt:lpstr>Aim 1:    Improve Communication &amp; Coordination</vt:lpstr>
      <vt:lpstr>Aim 2:    Determine Processes for Establishing Research Priorities and Creating Research Roadmap</vt:lpstr>
      <vt:lpstr>Suicide Prevention Portfolio Analysis Report </vt:lpstr>
      <vt:lpstr>Strategic Directions &amp; Goals from VA’s National Strategy for Preventing Veteran Suicide;  All studies started after 2018 were analyzed for alignment to one or more objectives</vt:lpstr>
      <vt:lpstr>PowerPoint Presentation</vt:lpstr>
      <vt:lpstr>Aim 2:    Determine Processes for Establishing Research Priorities and Creating Research Roadma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nstans, Joseph (VACO)</dc:creator>
  <cp:lastModifiedBy>Constans, Joseph (VACO)</cp:lastModifiedBy>
  <cp:revision>12</cp:revision>
  <dcterms:created xsi:type="dcterms:W3CDTF">2022-07-06T15:59:46Z</dcterms:created>
  <dcterms:modified xsi:type="dcterms:W3CDTF">2023-03-28T16:1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B1E07F2C274044A140D89A2848318B</vt:lpwstr>
  </property>
  <property fmtid="{D5CDD505-2E9C-101B-9397-08002B2CF9AE}" pid="3" name="Order">
    <vt:r8>191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_SourceUrl">
    <vt:lpwstr/>
  </property>
  <property fmtid="{D5CDD505-2E9C-101B-9397-08002B2CF9AE}" pid="9" name="_SharedFileIndex">
    <vt:lpwstr/>
  </property>
  <property fmtid="{D5CDD505-2E9C-101B-9397-08002B2CF9AE}" pid="10" name="ComplianceAssetId">
    <vt:lpwstr/>
  </property>
  <property fmtid="{D5CDD505-2E9C-101B-9397-08002B2CF9AE}" pid="11" name="TemplateUrl">
    <vt:lpwstr/>
  </property>
</Properties>
</file>